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5.xml" ContentType="application/vnd.openxmlformats-officedocument.presentationml.tags+xml"/>
  <Override PartName="/ppt/notesSlides/notesSlide1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8"/>
  </p:notesMasterIdLst>
  <p:sldIdLst>
    <p:sldId id="431" r:id="rId2"/>
    <p:sldId id="492" r:id="rId3"/>
    <p:sldId id="705" r:id="rId4"/>
    <p:sldId id="739" r:id="rId5"/>
    <p:sldId id="703" r:id="rId6"/>
    <p:sldId id="811" r:id="rId7"/>
    <p:sldId id="775" r:id="rId8"/>
    <p:sldId id="779" r:id="rId9"/>
    <p:sldId id="750" r:id="rId10"/>
    <p:sldId id="704" r:id="rId11"/>
    <p:sldId id="761" r:id="rId12"/>
    <p:sldId id="803" r:id="rId13"/>
    <p:sldId id="784" r:id="rId14"/>
    <p:sldId id="786" r:id="rId15"/>
    <p:sldId id="787" r:id="rId16"/>
    <p:sldId id="788" r:id="rId17"/>
    <p:sldId id="330" r:id="rId18"/>
    <p:sldId id="707" r:id="rId19"/>
    <p:sldId id="729" r:id="rId20"/>
    <p:sldId id="814" r:id="rId21"/>
    <p:sldId id="745" r:id="rId22"/>
    <p:sldId id="742" r:id="rId23"/>
    <p:sldId id="743" r:id="rId24"/>
    <p:sldId id="744" r:id="rId25"/>
    <p:sldId id="813" r:id="rId26"/>
    <p:sldId id="738" r:id="rId27"/>
  </p:sldIdLst>
  <p:sldSz cx="9144000" cy="6858000" type="screen4x3"/>
  <p:notesSz cx="6858000" cy="9144000"/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ola Andrea Trujillo Pulido" initials="PAT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4849" autoAdjust="0"/>
  </p:normalViewPr>
  <p:slideViewPr>
    <p:cSldViewPr snapToGrid="0" snapToObjects="1">
      <p:cViewPr>
        <p:scale>
          <a:sx n="75" d="100"/>
          <a:sy n="75" d="100"/>
        </p:scale>
        <p:origin x="-1230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27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F96E95-9AD7-4969-8A27-094DAE1A54E2}" type="doc">
      <dgm:prSet loTypeId="urn:microsoft.com/office/officeart/2005/8/layout/process3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B8094E37-726B-451C-8652-84E6A756871C}">
      <dgm:prSet phldrT="[Texto]" custT="1"/>
      <dgm:spPr/>
      <dgm:t>
        <a:bodyPr/>
        <a:lstStyle/>
        <a:p>
          <a:pPr algn="ctr"/>
          <a:r>
            <a:rPr lang="es-CO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istematización de experiencias en los EE</a:t>
          </a:r>
          <a:endParaRPr lang="es-CO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EE4C746-0377-45A6-81BC-8687A9C1B1C1}" type="parTrans" cxnId="{22922314-7D40-4F95-8440-15DF7D6DC9C8}">
      <dgm:prSet/>
      <dgm:spPr/>
      <dgm:t>
        <a:bodyPr/>
        <a:lstStyle/>
        <a:p>
          <a:endParaRPr lang="es-CO"/>
        </a:p>
      </dgm:t>
    </dgm:pt>
    <dgm:pt modelId="{1BF5506D-A63C-49F6-8C36-41A01BE68281}" type="sibTrans" cxnId="{22922314-7D40-4F95-8440-15DF7D6DC9C8}">
      <dgm:prSet/>
      <dgm:spPr/>
      <dgm:t>
        <a:bodyPr/>
        <a:lstStyle/>
        <a:p>
          <a:endParaRPr lang="es-CO"/>
        </a:p>
      </dgm:t>
    </dgm:pt>
    <dgm:pt modelId="{CFE03312-B709-4A2E-8214-89857CBC841E}">
      <dgm:prSet phldrT="[Texto]" custT="1"/>
      <dgm:spPr/>
      <dgm:t>
        <a:bodyPr/>
        <a:lstStyle/>
        <a:p>
          <a:pPr algn="ctr"/>
          <a:r>
            <a:rPr lang="es-CO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ocumento general de sistematización</a:t>
          </a:r>
          <a:endParaRPr lang="es-CO" sz="20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BE309E7-B6B2-4B41-BC98-8AA8B3288A13}" type="parTrans" cxnId="{56051370-30A7-4844-A7AD-98A2021D24E2}">
      <dgm:prSet/>
      <dgm:spPr/>
      <dgm:t>
        <a:bodyPr/>
        <a:lstStyle/>
        <a:p>
          <a:endParaRPr lang="es-CO"/>
        </a:p>
      </dgm:t>
    </dgm:pt>
    <dgm:pt modelId="{A74DFF40-994B-4706-992A-AA10522E7B15}" type="sibTrans" cxnId="{56051370-30A7-4844-A7AD-98A2021D24E2}">
      <dgm:prSet/>
      <dgm:spPr/>
      <dgm:t>
        <a:bodyPr/>
        <a:lstStyle/>
        <a:p>
          <a:endParaRPr lang="es-CO"/>
        </a:p>
      </dgm:t>
    </dgm:pt>
    <dgm:pt modelId="{CC1BC3CB-5F25-4899-8174-E6386E165DA6}">
      <dgm:prSet phldrT="[Texto]" custT="1"/>
      <dgm:spPr/>
      <dgm:t>
        <a:bodyPr/>
        <a:lstStyle/>
        <a:p>
          <a:pPr algn="ctr"/>
          <a:r>
            <a:rPr lang="es-CO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o Educativo Regional  en Barranquilla</a:t>
          </a:r>
        </a:p>
      </dgm:t>
    </dgm:pt>
    <dgm:pt modelId="{143D4811-CC3E-4DAC-B4E2-B9ADD7EAF954}" type="parTrans" cxnId="{663DC13F-3AEF-46C2-8699-55544E8A0674}">
      <dgm:prSet/>
      <dgm:spPr/>
      <dgm:t>
        <a:bodyPr/>
        <a:lstStyle/>
        <a:p>
          <a:endParaRPr lang="es-CO"/>
        </a:p>
      </dgm:t>
    </dgm:pt>
    <dgm:pt modelId="{58D54ADC-A2C0-4163-BB4E-08E076E4DC84}" type="sibTrans" cxnId="{663DC13F-3AEF-46C2-8699-55544E8A0674}">
      <dgm:prSet/>
      <dgm:spPr/>
      <dgm:t>
        <a:bodyPr/>
        <a:lstStyle/>
        <a:p>
          <a:endParaRPr lang="es-CO"/>
        </a:p>
      </dgm:t>
    </dgm:pt>
    <dgm:pt modelId="{D09FF1A7-AAB9-4983-BC86-4CE70FE59AD7}" type="pres">
      <dgm:prSet presAssocID="{A0F96E95-9AD7-4969-8A27-094DAE1A54E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E765F4C-FC9F-4F67-99D3-F629D063C2B9}" type="pres">
      <dgm:prSet presAssocID="{B8094E37-726B-451C-8652-84E6A756871C}" presName="composite" presStyleCnt="0"/>
      <dgm:spPr/>
    </dgm:pt>
    <dgm:pt modelId="{41D891A2-4E5B-4D1C-985F-7F5251F8D81D}" type="pres">
      <dgm:prSet presAssocID="{B8094E37-726B-451C-8652-84E6A756871C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18830A8-63B0-4425-8E88-DCAC88017899}" type="pres">
      <dgm:prSet presAssocID="{B8094E37-726B-451C-8652-84E6A756871C}" presName="parSh" presStyleLbl="node1" presStyleIdx="0" presStyleCnt="3"/>
      <dgm:spPr/>
      <dgm:t>
        <a:bodyPr/>
        <a:lstStyle/>
        <a:p>
          <a:endParaRPr lang="es-CO"/>
        </a:p>
      </dgm:t>
    </dgm:pt>
    <dgm:pt modelId="{21DDF8EF-F910-43E6-B24C-A4CACC431BAA}" type="pres">
      <dgm:prSet presAssocID="{B8094E37-726B-451C-8652-84E6A756871C}" presName="desTx" presStyleLbl="fgAcc1" presStyleIdx="0" presStyleCnt="3" custScaleY="59327" custLinFactNeighborX="1045" custLinFactNeighborY="-7212">
        <dgm:presLayoutVars>
          <dgm:bulletEnabled val="1"/>
        </dgm:presLayoutVars>
      </dgm:prSet>
      <dgm:spPr/>
    </dgm:pt>
    <dgm:pt modelId="{78C8842D-5AA1-439E-AFBF-DFDFA0050213}" type="pres">
      <dgm:prSet presAssocID="{1BF5506D-A63C-49F6-8C36-41A01BE68281}" presName="sibTrans" presStyleLbl="sibTrans2D1" presStyleIdx="0" presStyleCnt="2"/>
      <dgm:spPr/>
      <dgm:t>
        <a:bodyPr/>
        <a:lstStyle/>
        <a:p>
          <a:endParaRPr lang="es-CO"/>
        </a:p>
      </dgm:t>
    </dgm:pt>
    <dgm:pt modelId="{14BDDDBD-63F6-4FFE-A4AE-E577FE7A6A41}" type="pres">
      <dgm:prSet presAssocID="{1BF5506D-A63C-49F6-8C36-41A01BE68281}" presName="connTx" presStyleLbl="sibTrans2D1" presStyleIdx="0" presStyleCnt="2"/>
      <dgm:spPr/>
      <dgm:t>
        <a:bodyPr/>
        <a:lstStyle/>
        <a:p>
          <a:endParaRPr lang="es-CO"/>
        </a:p>
      </dgm:t>
    </dgm:pt>
    <dgm:pt modelId="{364B787E-373D-4FB7-B081-63D423CBC88D}" type="pres">
      <dgm:prSet presAssocID="{CFE03312-B709-4A2E-8214-89857CBC841E}" presName="composite" presStyleCnt="0"/>
      <dgm:spPr/>
    </dgm:pt>
    <dgm:pt modelId="{9AB549D5-B196-4904-8E62-5360D8D19D26}" type="pres">
      <dgm:prSet presAssocID="{CFE03312-B709-4A2E-8214-89857CBC841E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730E3E1-E938-4C09-9C00-C5638954F938}" type="pres">
      <dgm:prSet presAssocID="{CFE03312-B709-4A2E-8214-89857CBC841E}" presName="parSh" presStyleLbl="node1" presStyleIdx="1" presStyleCnt="3"/>
      <dgm:spPr/>
      <dgm:t>
        <a:bodyPr/>
        <a:lstStyle/>
        <a:p>
          <a:endParaRPr lang="es-CO"/>
        </a:p>
      </dgm:t>
    </dgm:pt>
    <dgm:pt modelId="{3CAD4B0C-C420-4E9D-AAB2-FC2C72B1C699}" type="pres">
      <dgm:prSet presAssocID="{CFE03312-B709-4A2E-8214-89857CBC841E}" presName="desTx" presStyleLbl="fgAcc1" presStyleIdx="1" presStyleCnt="3" custScaleY="61672" custLinFactNeighborX="-164" custLinFactNeighborY="-10301">
        <dgm:presLayoutVars>
          <dgm:bulletEnabled val="1"/>
        </dgm:presLayoutVars>
      </dgm:prSet>
      <dgm:spPr/>
    </dgm:pt>
    <dgm:pt modelId="{D1AEACE5-588F-4D45-8DB3-E53684E802A3}" type="pres">
      <dgm:prSet presAssocID="{A74DFF40-994B-4706-992A-AA10522E7B15}" presName="sibTrans" presStyleLbl="sibTrans2D1" presStyleIdx="1" presStyleCnt="2"/>
      <dgm:spPr/>
      <dgm:t>
        <a:bodyPr/>
        <a:lstStyle/>
        <a:p>
          <a:endParaRPr lang="es-CO"/>
        </a:p>
      </dgm:t>
    </dgm:pt>
    <dgm:pt modelId="{356F1E23-510D-4FAA-BA09-C5AA7E98693C}" type="pres">
      <dgm:prSet presAssocID="{A74DFF40-994B-4706-992A-AA10522E7B15}" presName="connTx" presStyleLbl="sibTrans2D1" presStyleIdx="1" presStyleCnt="2"/>
      <dgm:spPr/>
      <dgm:t>
        <a:bodyPr/>
        <a:lstStyle/>
        <a:p>
          <a:endParaRPr lang="es-CO"/>
        </a:p>
      </dgm:t>
    </dgm:pt>
    <dgm:pt modelId="{1172F7BC-F0F0-4932-956C-8D5D47CBE8B8}" type="pres">
      <dgm:prSet presAssocID="{CC1BC3CB-5F25-4899-8174-E6386E165DA6}" presName="composite" presStyleCnt="0"/>
      <dgm:spPr/>
    </dgm:pt>
    <dgm:pt modelId="{64DE273C-D2F5-4E8F-A5FE-A5D4DB5F2501}" type="pres">
      <dgm:prSet presAssocID="{CC1BC3CB-5F25-4899-8174-E6386E165DA6}" presName="par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EF84937-09EE-44E4-901A-6E2217D6CEEE}" type="pres">
      <dgm:prSet presAssocID="{CC1BC3CB-5F25-4899-8174-E6386E165DA6}" presName="parSh" presStyleLbl="node1" presStyleIdx="2" presStyleCnt="3"/>
      <dgm:spPr/>
      <dgm:t>
        <a:bodyPr/>
        <a:lstStyle/>
        <a:p>
          <a:endParaRPr lang="es-CO"/>
        </a:p>
      </dgm:t>
    </dgm:pt>
    <dgm:pt modelId="{5FE94CC9-829F-461D-BA7E-530929B85D6F}" type="pres">
      <dgm:prSet presAssocID="{CC1BC3CB-5F25-4899-8174-E6386E165DA6}" presName="desTx" presStyleLbl="fgAcc1" presStyleIdx="2" presStyleCnt="3" custScaleY="60269" custLinFactNeighborX="220" custLinFactNeighborY="-10680">
        <dgm:presLayoutVars>
          <dgm:bulletEnabled val="1"/>
        </dgm:presLayoutVars>
      </dgm:prSet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O"/>
        </a:p>
      </dgm:t>
    </dgm:pt>
  </dgm:ptLst>
  <dgm:cxnLst>
    <dgm:cxn modelId="{A8E5232B-7347-4B86-8F7D-67B70C4A2233}" type="presOf" srcId="{CFE03312-B709-4A2E-8214-89857CBC841E}" destId="{9AB549D5-B196-4904-8E62-5360D8D19D26}" srcOrd="0" destOrd="0" presId="urn:microsoft.com/office/officeart/2005/8/layout/process3"/>
    <dgm:cxn modelId="{0E5282EA-913D-4B5C-95BA-A8C92AFEDFC8}" type="presOf" srcId="{A74DFF40-994B-4706-992A-AA10522E7B15}" destId="{D1AEACE5-588F-4D45-8DB3-E53684E802A3}" srcOrd="0" destOrd="0" presId="urn:microsoft.com/office/officeart/2005/8/layout/process3"/>
    <dgm:cxn modelId="{B897C97B-9035-4F19-987D-8BDD1CC0C73B}" type="presOf" srcId="{B8094E37-726B-451C-8652-84E6A756871C}" destId="{A18830A8-63B0-4425-8E88-DCAC88017899}" srcOrd="1" destOrd="0" presId="urn:microsoft.com/office/officeart/2005/8/layout/process3"/>
    <dgm:cxn modelId="{AB749CB4-B9C0-4A07-87BB-E89A9B42CA96}" type="presOf" srcId="{B8094E37-726B-451C-8652-84E6A756871C}" destId="{41D891A2-4E5B-4D1C-985F-7F5251F8D81D}" srcOrd="0" destOrd="0" presId="urn:microsoft.com/office/officeart/2005/8/layout/process3"/>
    <dgm:cxn modelId="{63BD1C2A-1D6A-43F3-8D69-BDCB8A141656}" type="presOf" srcId="{1BF5506D-A63C-49F6-8C36-41A01BE68281}" destId="{78C8842D-5AA1-439E-AFBF-DFDFA0050213}" srcOrd="0" destOrd="0" presId="urn:microsoft.com/office/officeart/2005/8/layout/process3"/>
    <dgm:cxn modelId="{505D1EBE-47A3-41CD-845A-40BD8D17294B}" type="presOf" srcId="{CC1BC3CB-5F25-4899-8174-E6386E165DA6}" destId="{DEF84937-09EE-44E4-901A-6E2217D6CEEE}" srcOrd="1" destOrd="0" presId="urn:microsoft.com/office/officeart/2005/8/layout/process3"/>
    <dgm:cxn modelId="{592577E4-CD2A-4DA7-8754-20F9CA277B69}" type="presOf" srcId="{CC1BC3CB-5F25-4899-8174-E6386E165DA6}" destId="{64DE273C-D2F5-4E8F-A5FE-A5D4DB5F2501}" srcOrd="0" destOrd="0" presId="urn:microsoft.com/office/officeart/2005/8/layout/process3"/>
    <dgm:cxn modelId="{B5C930DC-13EE-4E95-921E-047B688123ED}" type="presOf" srcId="{1BF5506D-A63C-49F6-8C36-41A01BE68281}" destId="{14BDDDBD-63F6-4FFE-A4AE-E577FE7A6A41}" srcOrd="1" destOrd="0" presId="urn:microsoft.com/office/officeart/2005/8/layout/process3"/>
    <dgm:cxn modelId="{56051370-30A7-4844-A7AD-98A2021D24E2}" srcId="{A0F96E95-9AD7-4969-8A27-094DAE1A54E2}" destId="{CFE03312-B709-4A2E-8214-89857CBC841E}" srcOrd="1" destOrd="0" parTransId="{3BE309E7-B6B2-4B41-BC98-8AA8B3288A13}" sibTransId="{A74DFF40-994B-4706-992A-AA10522E7B15}"/>
    <dgm:cxn modelId="{663DC13F-3AEF-46C2-8699-55544E8A0674}" srcId="{A0F96E95-9AD7-4969-8A27-094DAE1A54E2}" destId="{CC1BC3CB-5F25-4899-8174-E6386E165DA6}" srcOrd="2" destOrd="0" parTransId="{143D4811-CC3E-4DAC-B4E2-B9ADD7EAF954}" sibTransId="{58D54ADC-A2C0-4163-BB4E-08E076E4DC84}"/>
    <dgm:cxn modelId="{8D7C4AA9-1AC1-4FBC-A5DF-83F7757C53DC}" type="presOf" srcId="{A74DFF40-994B-4706-992A-AA10522E7B15}" destId="{356F1E23-510D-4FAA-BA09-C5AA7E98693C}" srcOrd="1" destOrd="0" presId="urn:microsoft.com/office/officeart/2005/8/layout/process3"/>
    <dgm:cxn modelId="{0B5B1CCB-A5CF-456C-B7E9-083A0D1E6E6D}" type="presOf" srcId="{A0F96E95-9AD7-4969-8A27-094DAE1A54E2}" destId="{D09FF1A7-AAB9-4983-BC86-4CE70FE59AD7}" srcOrd="0" destOrd="0" presId="urn:microsoft.com/office/officeart/2005/8/layout/process3"/>
    <dgm:cxn modelId="{22922314-7D40-4F95-8440-15DF7D6DC9C8}" srcId="{A0F96E95-9AD7-4969-8A27-094DAE1A54E2}" destId="{B8094E37-726B-451C-8652-84E6A756871C}" srcOrd="0" destOrd="0" parTransId="{5EE4C746-0377-45A6-81BC-8687A9C1B1C1}" sibTransId="{1BF5506D-A63C-49F6-8C36-41A01BE68281}"/>
    <dgm:cxn modelId="{2893FE22-C540-49BB-BA7F-D1D07F64F20B}" type="presOf" srcId="{CFE03312-B709-4A2E-8214-89857CBC841E}" destId="{5730E3E1-E938-4C09-9C00-C5638954F938}" srcOrd="1" destOrd="0" presId="urn:microsoft.com/office/officeart/2005/8/layout/process3"/>
    <dgm:cxn modelId="{2FCD1AB1-CB13-4BF1-92F8-42EE06488F47}" type="presParOf" srcId="{D09FF1A7-AAB9-4983-BC86-4CE70FE59AD7}" destId="{7E765F4C-FC9F-4F67-99D3-F629D063C2B9}" srcOrd="0" destOrd="0" presId="urn:microsoft.com/office/officeart/2005/8/layout/process3"/>
    <dgm:cxn modelId="{F3FBCD2E-6BE3-445D-8130-8AD227286BE5}" type="presParOf" srcId="{7E765F4C-FC9F-4F67-99D3-F629D063C2B9}" destId="{41D891A2-4E5B-4D1C-985F-7F5251F8D81D}" srcOrd="0" destOrd="0" presId="urn:microsoft.com/office/officeart/2005/8/layout/process3"/>
    <dgm:cxn modelId="{5B8F5270-BD2A-4938-9BFB-017A751599C9}" type="presParOf" srcId="{7E765F4C-FC9F-4F67-99D3-F629D063C2B9}" destId="{A18830A8-63B0-4425-8E88-DCAC88017899}" srcOrd="1" destOrd="0" presId="urn:microsoft.com/office/officeart/2005/8/layout/process3"/>
    <dgm:cxn modelId="{88BA749D-876F-4127-9C66-456497887DDD}" type="presParOf" srcId="{7E765F4C-FC9F-4F67-99D3-F629D063C2B9}" destId="{21DDF8EF-F910-43E6-B24C-A4CACC431BAA}" srcOrd="2" destOrd="0" presId="urn:microsoft.com/office/officeart/2005/8/layout/process3"/>
    <dgm:cxn modelId="{700235E1-CF7C-49CD-976B-633219A2CCD7}" type="presParOf" srcId="{D09FF1A7-AAB9-4983-BC86-4CE70FE59AD7}" destId="{78C8842D-5AA1-439E-AFBF-DFDFA0050213}" srcOrd="1" destOrd="0" presId="urn:microsoft.com/office/officeart/2005/8/layout/process3"/>
    <dgm:cxn modelId="{7EB537FF-3591-49FE-87A6-D39BA5FC324F}" type="presParOf" srcId="{78C8842D-5AA1-439E-AFBF-DFDFA0050213}" destId="{14BDDDBD-63F6-4FFE-A4AE-E577FE7A6A41}" srcOrd="0" destOrd="0" presId="urn:microsoft.com/office/officeart/2005/8/layout/process3"/>
    <dgm:cxn modelId="{39D32AFE-2CA3-45DA-8B4E-F5B7AC6C3055}" type="presParOf" srcId="{D09FF1A7-AAB9-4983-BC86-4CE70FE59AD7}" destId="{364B787E-373D-4FB7-B081-63D423CBC88D}" srcOrd="2" destOrd="0" presId="urn:microsoft.com/office/officeart/2005/8/layout/process3"/>
    <dgm:cxn modelId="{5EAA168D-D1DC-4C3B-8BED-51536906FA7F}" type="presParOf" srcId="{364B787E-373D-4FB7-B081-63D423CBC88D}" destId="{9AB549D5-B196-4904-8E62-5360D8D19D26}" srcOrd="0" destOrd="0" presId="urn:microsoft.com/office/officeart/2005/8/layout/process3"/>
    <dgm:cxn modelId="{49889A02-EC49-47F7-9294-42F62DC41ACC}" type="presParOf" srcId="{364B787E-373D-4FB7-B081-63D423CBC88D}" destId="{5730E3E1-E938-4C09-9C00-C5638954F938}" srcOrd="1" destOrd="0" presId="urn:microsoft.com/office/officeart/2005/8/layout/process3"/>
    <dgm:cxn modelId="{BA3955B2-929D-4DE8-88CC-605D9939D409}" type="presParOf" srcId="{364B787E-373D-4FB7-B081-63D423CBC88D}" destId="{3CAD4B0C-C420-4E9D-AAB2-FC2C72B1C699}" srcOrd="2" destOrd="0" presId="urn:microsoft.com/office/officeart/2005/8/layout/process3"/>
    <dgm:cxn modelId="{FC65046C-5E7E-46FA-AAA2-9454A87BE512}" type="presParOf" srcId="{D09FF1A7-AAB9-4983-BC86-4CE70FE59AD7}" destId="{D1AEACE5-588F-4D45-8DB3-E53684E802A3}" srcOrd="3" destOrd="0" presId="urn:microsoft.com/office/officeart/2005/8/layout/process3"/>
    <dgm:cxn modelId="{A6A0192C-1662-4145-AA75-EA14FE26FF3D}" type="presParOf" srcId="{D1AEACE5-588F-4D45-8DB3-E53684E802A3}" destId="{356F1E23-510D-4FAA-BA09-C5AA7E98693C}" srcOrd="0" destOrd="0" presId="urn:microsoft.com/office/officeart/2005/8/layout/process3"/>
    <dgm:cxn modelId="{5CF361C7-81E5-4737-AE36-58495A1A7667}" type="presParOf" srcId="{D09FF1A7-AAB9-4983-BC86-4CE70FE59AD7}" destId="{1172F7BC-F0F0-4932-956C-8D5D47CBE8B8}" srcOrd="4" destOrd="0" presId="urn:microsoft.com/office/officeart/2005/8/layout/process3"/>
    <dgm:cxn modelId="{59772A87-ECFA-4DA2-B39A-ACA6E7BA7FD4}" type="presParOf" srcId="{1172F7BC-F0F0-4932-956C-8D5D47CBE8B8}" destId="{64DE273C-D2F5-4E8F-A5FE-A5D4DB5F2501}" srcOrd="0" destOrd="0" presId="urn:microsoft.com/office/officeart/2005/8/layout/process3"/>
    <dgm:cxn modelId="{835C8E6F-ACA9-441E-A052-3316C0FAB78B}" type="presParOf" srcId="{1172F7BC-F0F0-4932-956C-8D5D47CBE8B8}" destId="{DEF84937-09EE-44E4-901A-6E2217D6CEEE}" srcOrd="1" destOrd="0" presId="urn:microsoft.com/office/officeart/2005/8/layout/process3"/>
    <dgm:cxn modelId="{D0B76D1D-E9F0-411E-8A61-9548E0BBE321}" type="presParOf" srcId="{1172F7BC-F0F0-4932-956C-8D5D47CBE8B8}" destId="{5FE94CC9-829F-461D-BA7E-530929B85D6F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0FA5CB-6AFD-487A-8458-F4C160690420}" type="doc">
      <dgm:prSet loTypeId="urn:microsoft.com/office/officeart/2005/8/layout/vList6" loCatId="list" qsTypeId="urn:microsoft.com/office/officeart/2005/8/quickstyle/3d2" qsCatId="3D" csTypeId="urn:microsoft.com/office/officeart/2005/8/colors/accent0_2" csCatId="mainScheme" phldr="1"/>
      <dgm:spPr/>
      <dgm:t>
        <a:bodyPr/>
        <a:lstStyle/>
        <a:p>
          <a:endParaRPr lang="es-CO"/>
        </a:p>
      </dgm:t>
    </dgm:pt>
    <dgm:pt modelId="{6CA3817D-F8EF-4F23-8E0D-C7BDB8B7BC79}">
      <dgm:prSet phldrT="[Texto]" custT="1"/>
      <dgm:spPr/>
      <dgm:t>
        <a:bodyPr/>
        <a:lstStyle/>
        <a:p>
          <a:r>
            <a:rPr lang="es-CO" sz="1600" b="1" dirty="0" smtClean="0">
              <a:solidFill>
                <a:schemeClr val="tx1"/>
              </a:solidFill>
            </a:rPr>
            <a:t>Conformación de </a:t>
          </a:r>
          <a:r>
            <a:rPr lang="es-CO" sz="1800" b="1" u="sng" dirty="0" smtClean="0">
              <a:solidFill>
                <a:srgbClr val="C00000"/>
              </a:solidFill>
            </a:rPr>
            <a:t>Comités de Formación Docente </a:t>
          </a:r>
          <a:r>
            <a:rPr lang="es-CO" sz="1600" b="1" dirty="0" smtClean="0">
              <a:solidFill>
                <a:schemeClr val="tx1"/>
              </a:solidFill>
            </a:rPr>
            <a:t>en cada E.E.</a:t>
          </a:r>
        </a:p>
        <a:p>
          <a:r>
            <a:rPr lang="es-CO" sz="4000" b="1" dirty="0" smtClean="0">
              <a:solidFill>
                <a:srgbClr val="FF0000"/>
              </a:solidFill>
            </a:rPr>
            <a:t>3.894</a:t>
          </a:r>
          <a:r>
            <a:rPr lang="es-CO" sz="4000" b="1" dirty="0" smtClean="0">
              <a:solidFill>
                <a:schemeClr val="tx1"/>
              </a:solidFill>
            </a:rPr>
            <a:t> E.E</a:t>
          </a:r>
          <a:r>
            <a:rPr lang="es-CO" sz="1600" b="1" dirty="0" smtClean="0">
              <a:solidFill>
                <a:schemeClr val="tx1"/>
              </a:solidFill>
            </a:rPr>
            <a:t>. </a:t>
          </a:r>
          <a:endParaRPr lang="es-CO" sz="1600" b="1" dirty="0">
            <a:solidFill>
              <a:schemeClr val="tx1"/>
            </a:solidFill>
          </a:endParaRPr>
        </a:p>
      </dgm:t>
    </dgm:pt>
    <dgm:pt modelId="{ED0D2908-7416-46D0-8614-5455B6CFBECA}" type="parTrans" cxnId="{907B611D-3B6F-4802-9265-9488F144DA4D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85B7B505-214A-494D-9820-8BFF777D2C1E}" type="sibTrans" cxnId="{907B611D-3B6F-4802-9265-9488F144DA4D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E610CE11-63DA-4618-906B-799CF6F6A210}">
      <dgm:prSet phldrT="[Texto]" custT="1"/>
      <dgm:spPr/>
      <dgm:t>
        <a:bodyPr/>
        <a:lstStyle/>
        <a:p>
          <a:r>
            <a:rPr lang="es-CO" sz="1600" b="1" dirty="0" smtClean="0">
              <a:solidFill>
                <a:schemeClr val="tx1"/>
              </a:solidFill>
            </a:rPr>
            <a:t>Construcción  e implementación del</a:t>
          </a:r>
          <a:r>
            <a:rPr lang="es-CO" sz="1800" b="1" u="sng" dirty="0" smtClean="0">
              <a:solidFill>
                <a:schemeClr val="tx1"/>
              </a:solidFill>
            </a:rPr>
            <a:t> </a:t>
          </a:r>
          <a:r>
            <a:rPr lang="es-CO" sz="1800" b="1" u="sng" dirty="0" smtClean="0">
              <a:solidFill>
                <a:srgbClr val="C00000"/>
              </a:solidFill>
            </a:rPr>
            <a:t>Plan de Formación Autónoma </a:t>
          </a:r>
          <a:r>
            <a:rPr lang="es-CO" sz="1600" b="1" dirty="0" smtClean="0">
              <a:solidFill>
                <a:schemeClr val="tx1"/>
              </a:solidFill>
            </a:rPr>
            <a:t>en cada E.E</a:t>
          </a:r>
        </a:p>
        <a:p>
          <a:r>
            <a:rPr lang="es-CO" sz="4000" b="1" dirty="0" smtClean="0">
              <a:solidFill>
                <a:srgbClr val="FF0000"/>
              </a:solidFill>
            </a:rPr>
            <a:t>2.019</a:t>
          </a:r>
          <a:r>
            <a:rPr lang="es-CO" sz="4000" b="1" dirty="0" smtClean="0">
              <a:solidFill>
                <a:schemeClr val="tx1"/>
              </a:solidFill>
            </a:rPr>
            <a:t>  E.E</a:t>
          </a:r>
          <a:endParaRPr lang="es-CO" sz="4000" b="1" dirty="0">
            <a:solidFill>
              <a:schemeClr val="tx1"/>
            </a:solidFill>
          </a:endParaRPr>
        </a:p>
      </dgm:t>
    </dgm:pt>
    <dgm:pt modelId="{20BEF796-E1E6-427F-AA0E-568FD0BEF30C}" type="parTrans" cxnId="{48FFDF5D-542B-40D7-B1B2-02AB06D9D0C2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372E53AC-2AC7-4B2D-B690-B51159D8C994}" type="sibTrans" cxnId="{48FFDF5D-542B-40D7-B1B2-02AB06D9D0C2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A228F8B6-393B-4B30-BB50-98E7C9BBEE41}">
      <dgm:prSet custT="1"/>
      <dgm:spPr/>
      <dgm:t>
        <a:bodyPr/>
        <a:lstStyle/>
        <a:p>
          <a:r>
            <a:rPr lang="es-CO" sz="1600" b="1" dirty="0" smtClean="0">
              <a:solidFill>
                <a:schemeClr val="tx1"/>
              </a:solidFill>
            </a:rPr>
            <a:t>Evaluación y consolidación de la </a:t>
          </a:r>
          <a:r>
            <a:rPr lang="es-CO" sz="1600" b="1" u="sng" dirty="0" smtClean="0">
              <a:solidFill>
                <a:srgbClr val="C00000"/>
              </a:solidFill>
            </a:rPr>
            <a:t>carpeta guía </a:t>
          </a:r>
          <a:r>
            <a:rPr lang="es-CO" sz="1600" b="1" dirty="0" smtClean="0">
              <a:solidFill>
                <a:schemeClr val="tx1"/>
              </a:solidFill>
            </a:rPr>
            <a:t>para la elaboración de futuros planes de formación autónoma para cada E.E. y </a:t>
          </a:r>
          <a:r>
            <a:rPr lang="es-CO" sz="1600" b="1" dirty="0" smtClean="0">
              <a:solidFill>
                <a:srgbClr val="C00000"/>
              </a:solidFill>
            </a:rPr>
            <a:t>retroalimentación para el PMI y PEI </a:t>
          </a:r>
          <a:endParaRPr lang="es-CO" sz="1600" b="1" dirty="0">
            <a:solidFill>
              <a:srgbClr val="C00000"/>
            </a:solidFill>
          </a:endParaRPr>
        </a:p>
      </dgm:t>
    </dgm:pt>
    <dgm:pt modelId="{0AC75E8A-E654-46DD-AC15-5F8E1A2C98C1}" type="parTrans" cxnId="{A6CFA2C7-0F4A-4415-9A93-1FF00A073BD0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494DA7A6-9889-4882-AE21-F3BA7F2FDE79}" type="sibTrans" cxnId="{A6CFA2C7-0F4A-4415-9A93-1FF00A073BD0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CD463623-8280-48FD-B248-D30E2EE44B25}" type="pres">
      <dgm:prSet presAssocID="{6D0FA5CB-6AFD-487A-8458-F4C160690420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DD60AA40-9553-4362-9A67-B92FF91832EA}" type="pres">
      <dgm:prSet presAssocID="{6CA3817D-F8EF-4F23-8E0D-C7BDB8B7BC79}" presName="linNode" presStyleCnt="0"/>
      <dgm:spPr/>
      <dgm:t>
        <a:bodyPr/>
        <a:lstStyle/>
        <a:p>
          <a:endParaRPr lang="es-CO"/>
        </a:p>
      </dgm:t>
    </dgm:pt>
    <dgm:pt modelId="{A72C17B3-A2E0-4AA5-9E74-D5EA6EC270D0}" type="pres">
      <dgm:prSet presAssocID="{6CA3817D-F8EF-4F23-8E0D-C7BDB8B7BC79}" presName="parentShp" presStyleLbl="node1" presStyleIdx="0" presStyleCnt="3" custScaleX="267701" custScaleY="114190" custLinFactNeighborX="-91" custLinFactNeighborY="263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8949C88-EFFE-4920-AC23-FB928939A07E}" type="pres">
      <dgm:prSet presAssocID="{6CA3817D-F8EF-4F23-8E0D-C7BDB8B7BC79}" presName="childShp" presStyleLbl="bgAccFollowNode1" presStyleIdx="0" presStyleCnt="3" custScaleX="52607" custScaleY="54454" custLinFactNeighborY="-151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0E692CA-A12F-4150-A87F-B268DB4FFEE2}" type="pres">
      <dgm:prSet presAssocID="{85B7B505-214A-494D-9820-8BFF777D2C1E}" presName="spacing" presStyleCnt="0"/>
      <dgm:spPr/>
      <dgm:t>
        <a:bodyPr/>
        <a:lstStyle/>
        <a:p>
          <a:endParaRPr lang="es-CO"/>
        </a:p>
      </dgm:t>
    </dgm:pt>
    <dgm:pt modelId="{4AD10593-C29C-4516-BE9A-3F54100A191F}" type="pres">
      <dgm:prSet presAssocID="{E610CE11-63DA-4618-906B-799CF6F6A210}" presName="linNode" presStyleCnt="0"/>
      <dgm:spPr/>
      <dgm:t>
        <a:bodyPr/>
        <a:lstStyle/>
        <a:p>
          <a:endParaRPr lang="es-CO"/>
        </a:p>
      </dgm:t>
    </dgm:pt>
    <dgm:pt modelId="{D16CDC4F-3257-4218-83BD-8840C960287E}" type="pres">
      <dgm:prSet presAssocID="{E610CE11-63DA-4618-906B-799CF6F6A210}" presName="parentShp" presStyleLbl="node1" presStyleIdx="1" presStyleCnt="3" custScaleX="260611" custScaleY="102740" custLinFactNeighborY="83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C39813C-89BC-4ECA-8D62-B6582CE5AB4E}" type="pres">
      <dgm:prSet presAssocID="{E610CE11-63DA-4618-906B-799CF6F6A210}" presName="childShp" presStyleLbl="bgAccFollowNode1" presStyleIdx="1" presStyleCnt="3" custScaleX="53630" custScaleY="52834" custLinFactNeighborX="289" custLinFactNeighborY="-245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6771588-AD23-4310-8716-F50AC5233B48}" type="pres">
      <dgm:prSet presAssocID="{372E53AC-2AC7-4B2D-B690-B51159D8C994}" presName="spacing" presStyleCnt="0"/>
      <dgm:spPr/>
      <dgm:t>
        <a:bodyPr/>
        <a:lstStyle/>
        <a:p>
          <a:endParaRPr lang="es-CO"/>
        </a:p>
      </dgm:t>
    </dgm:pt>
    <dgm:pt modelId="{33CC3ECF-0FD8-4008-BD6A-07079D6823DC}" type="pres">
      <dgm:prSet presAssocID="{A228F8B6-393B-4B30-BB50-98E7C9BBEE41}" presName="linNode" presStyleCnt="0"/>
      <dgm:spPr/>
      <dgm:t>
        <a:bodyPr/>
        <a:lstStyle/>
        <a:p>
          <a:endParaRPr lang="es-CO"/>
        </a:p>
      </dgm:t>
    </dgm:pt>
    <dgm:pt modelId="{06589EC1-06AF-4766-859B-E06169878F00}" type="pres">
      <dgm:prSet presAssocID="{A228F8B6-393B-4B30-BB50-98E7C9BBEE41}" presName="parentShp" presStyleLbl="node1" presStyleIdx="2" presStyleCnt="3" custScaleX="295868" custScaleY="115612" custLinFactNeighborX="-205" custLinFactNeighborY="20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A61AB9B-9DC9-46F9-A242-0F9DD8BE71A2}" type="pres">
      <dgm:prSet presAssocID="{A228F8B6-393B-4B30-BB50-98E7C9BBEE41}" presName="childShp" presStyleLbl="bgAccFollowNode1" presStyleIdx="2" presStyleCnt="3" custScaleX="69847" custScaleY="5540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85E6EFC-9768-49EE-8BAB-A407E0D991FD}" type="presOf" srcId="{A228F8B6-393B-4B30-BB50-98E7C9BBEE41}" destId="{06589EC1-06AF-4766-859B-E06169878F00}" srcOrd="0" destOrd="0" presId="urn:microsoft.com/office/officeart/2005/8/layout/vList6"/>
    <dgm:cxn modelId="{48FFDF5D-542B-40D7-B1B2-02AB06D9D0C2}" srcId="{6D0FA5CB-6AFD-487A-8458-F4C160690420}" destId="{E610CE11-63DA-4618-906B-799CF6F6A210}" srcOrd="1" destOrd="0" parTransId="{20BEF796-E1E6-427F-AA0E-568FD0BEF30C}" sibTransId="{372E53AC-2AC7-4B2D-B690-B51159D8C994}"/>
    <dgm:cxn modelId="{42F8324D-3632-42EC-B9D8-687FB0E09DD6}" type="presOf" srcId="{6D0FA5CB-6AFD-487A-8458-F4C160690420}" destId="{CD463623-8280-48FD-B248-D30E2EE44B25}" srcOrd="0" destOrd="0" presId="urn:microsoft.com/office/officeart/2005/8/layout/vList6"/>
    <dgm:cxn modelId="{A6CFA2C7-0F4A-4415-9A93-1FF00A073BD0}" srcId="{6D0FA5CB-6AFD-487A-8458-F4C160690420}" destId="{A228F8B6-393B-4B30-BB50-98E7C9BBEE41}" srcOrd="2" destOrd="0" parTransId="{0AC75E8A-E654-46DD-AC15-5F8E1A2C98C1}" sibTransId="{494DA7A6-9889-4882-AE21-F3BA7F2FDE79}"/>
    <dgm:cxn modelId="{907B611D-3B6F-4802-9265-9488F144DA4D}" srcId="{6D0FA5CB-6AFD-487A-8458-F4C160690420}" destId="{6CA3817D-F8EF-4F23-8E0D-C7BDB8B7BC79}" srcOrd="0" destOrd="0" parTransId="{ED0D2908-7416-46D0-8614-5455B6CFBECA}" sibTransId="{85B7B505-214A-494D-9820-8BFF777D2C1E}"/>
    <dgm:cxn modelId="{4D5A0DBD-7519-4B17-92A8-655565D9AC6A}" type="presOf" srcId="{6CA3817D-F8EF-4F23-8E0D-C7BDB8B7BC79}" destId="{A72C17B3-A2E0-4AA5-9E74-D5EA6EC270D0}" srcOrd="0" destOrd="0" presId="urn:microsoft.com/office/officeart/2005/8/layout/vList6"/>
    <dgm:cxn modelId="{FA60C447-58F6-4F49-8AB9-8F1F0788577B}" type="presOf" srcId="{E610CE11-63DA-4618-906B-799CF6F6A210}" destId="{D16CDC4F-3257-4218-83BD-8840C960287E}" srcOrd="0" destOrd="0" presId="urn:microsoft.com/office/officeart/2005/8/layout/vList6"/>
    <dgm:cxn modelId="{2ADD8C91-1033-4FB6-9D59-FD07CB2C552C}" type="presParOf" srcId="{CD463623-8280-48FD-B248-D30E2EE44B25}" destId="{DD60AA40-9553-4362-9A67-B92FF91832EA}" srcOrd="0" destOrd="0" presId="urn:microsoft.com/office/officeart/2005/8/layout/vList6"/>
    <dgm:cxn modelId="{7642DF1F-32A6-4237-A755-4DA2682BDD37}" type="presParOf" srcId="{DD60AA40-9553-4362-9A67-B92FF91832EA}" destId="{A72C17B3-A2E0-4AA5-9E74-D5EA6EC270D0}" srcOrd="0" destOrd="0" presId="urn:microsoft.com/office/officeart/2005/8/layout/vList6"/>
    <dgm:cxn modelId="{52CC40D6-C24A-49D6-B320-E0483D3C4F15}" type="presParOf" srcId="{DD60AA40-9553-4362-9A67-B92FF91832EA}" destId="{98949C88-EFFE-4920-AC23-FB928939A07E}" srcOrd="1" destOrd="0" presId="urn:microsoft.com/office/officeart/2005/8/layout/vList6"/>
    <dgm:cxn modelId="{041FDEFC-1F27-43BD-B371-51B5A0DF9E45}" type="presParOf" srcId="{CD463623-8280-48FD-B248-D30E2EE44B25}" destId="{20E692CA-A12F-4150-A87F-B268DB4FFEE2}" srcOrd="1" destOrd="0" presId="urn:microsoft.com/office/officeart/2005/8/layout/vList6"/>
    <dgm:cxn modelId="{A16CF4F3-3FB0-4037-8ACE-38DCB0A172B7}" type="presParOf" srcId="{CD463623-8280-48FD-B248-D30E2EE44B25}" destId="{4AD10593-C29C-4516-BE9A-3F54100A191F}" srcOrd="2" destOrd="0" presId="urn:microsoft.com/office/officeart/2005/8/layout/vList6"/>
    <dgm:cxn modelId="{DA489F24-9516-4EAE-9972-6146BB7B6260}" type="presParOf" srcId="{4AD10593-C29C-4516-BE9A-3F54100A191F}" destId="{D16CDC4F-3257-4218-83BD-8840C960287E}" srcOrd="0" destOrd="0" presId="urn:microsoft.com/office/officeart/2005/8/layout/vList6"/>
    <dgm:cxn modelId="{48341D75-9041-4B0C-87AD-40A816C7827E}" type="presParOf" srcId="{4AD10593-C29C-4516-BE9A-3F54100A191F}" destId="{8C39813C-89BC-4ECA-8D62-B6582CE5AB4E}" srcOrd="1" destOrd="0" presId="urn:microsoft.com/office/officeart/2005/8/layout/vList6"/>
    <dgm:cxn modelId="{D69268AD-D61A-49C6-BCED-CDEDDE8D27C4}" type="presParOf" srcId="{CD463623-8280-48FD-B248-D30E2EE44B25}" destId="{16771588-AD23-4310-8716-F50AC5233B48}" srcOrd="3" destOrd="0" presId="urn:microsoft.com/office/officeart/2005/8/layout/vList6"/>
    <dgm:cxn modelId="{32DC480E-CF7F-4259-8D12-A7F273C5DE23}" type="presParOf" srcId="{CD463623-8280-48FD-B248-D30E2EE44B25}" destId="{33CC3ECF-0FD8-4008-BD6A-07079D6823DC}" srcOrd="4" destOrd="0" presId="urn:microsoft.com/office/officeart/2005/8/layout/vList6"/>
    <dgm:cxn modelId="{1D2137D1-F99B-4856-82E1-258F42EE3EFC}" type="presParOf" srcId="{33CC3ECF-0FD8-4008-BD6A-07079D6823DC}" destId="{06589EC1-06AF-4766-859B-E06169878F00}" srcOrd="0" destOrd="0" presId="urn:microsoft.com/office/officeart/2005/8/layout/vList6"/>
    <dgm:cxn modelId="{72985657-FB76-4B39-BAE0-B4E1C7CA23B4}" type="presParOf" srcId="{33CC3ECF-0FD8-4008-BD6A-07079D6823DC}" destId="{0A61AB9B-9DC9-46F9-A242-0F9DD8BE71A2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2B7756-DDD7-4EC5-B4B9-984E8627638D}" type="doc">
      <dgm:prSet loTypeId="urn:microsoft.com/office/officeart/2005/8/layout/default" loCatId="list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es-CO"/>
        </a:p>
      </dgm:t>
    </dgm:pt>
    <dgm:pt modelId="{DFC6B641-B993-4A9E-A00B-799852F8705F}">
      <dgm:prSet phldrT="[Texto]" custT="1"/>
      <dgm:spPr/>
      <dgm:t>
        <a:bodyPr/>
        <a:lstStyle/>
        <a:p>
          <a:r>
            <a:rPr lang="es-CO" sz="1800" b="1" dirty="0" smtClean="0"/>
            <a:t>Banco mundial y BID</a:t>
          </a:r>
          <a:endParaRPr lang="es-CO" sz="1800" b="1" dirty="0"/>
        </a:p>
      </dgm:t>
    </dgm:pt>
    <dgm:pt modelId="{2187551A-0B2E-493A-9EA4-C2A7B37B79E4}" type="parTrans" cxnId="{7EFDDDC4-E497-48C0-BAAC-80D7810A3BD1}">
      <dgm:prSet/>
      <dgm:spPr/>
      <dgm:t>
        <a:bodyPr/>
        <a:lstStyle/>
        <a:p>
          <a:endParaRPr lang="es-CO" sz="1800" b="1"/>
        </a:p>
      </dgm:t>
    </dgm:pt>
    <dgm:pt modelId="{1819CA65-FB83-4DCF-A438-6DBD767F12FA}" type="sibTrans" cxnId="{7EFDDDC4-E497-48C0-BAAC-80D7810A3BD1}">
      <dgm:prSet/>
      <dgm:spPr/>
      <dgm:t>
        <a:bodyPr/>
        <a:lstStyle/>
        <a:p>
          <a:endParaRPr lang="es-CO" sz="1800" b="1"/>
        </a:p>
      </dgm:t>
    </dgm:pt>
    <dgm:pt modelId="{2334406D-2AA1-4526-AFF5-614451E3B1FD}">
      <dgm:prSet phldrT="[Texto]" custT="1"/>
      <dgm:spPr/>
      <dgm:t>
        <a:bodyPr/>
        <a:lstStyle/>
        <a:p>
          <a:r>
            <a:rPr lang="es-CO" sz="1800" b="1" dirty="0" smtClean="0"/>
            <a:t>Portafolio de Cooperación Sur- Sur</a:t>
          </a:r>
          <a:endParaRPr lang="es-CO" sz="1800" b="1" dirty="0"/>
        </a:p>
      </dgm:t>
    </dgm:pt>
    <dgm:pt modelId="{1587BC93-20E9-4A58-BBB8-2536C4EED506}" type="parTrans" cxnId="{16CA83AD-84C1-49F6-9D84-19A9A36A0FCF}">
      <dgm:prSet/>
      <dgm:spPr/>
      <dgm:t>
        <a:bodyPr/>
        <a:lstStyle/>
        <a:p>
          <a:endParaRPr lang="es-CO" sz="1800" b="1"/>
        </a:p>
      </dgm:t>
    </dgm:pt>
    <dgm:pt modelId="{EBC57F5E-5F85-408E-A1B5-FFDDE0464EE7}" type="sibTrans" cxnId="{16CA83AD-84C1-49F6-9D84-19A9A36A0FCF}">
      <dgm:prSet/>
      <dgm:spPr/>
      <dgm:t>
        <a:bodyPr/>
        <a:lstStyle/>
        <a:p>
          <a:endParaRPr lang="es-CO" sz="1800" b="1"/>
        </a:p>
      </dgm:t>
    </dgm:pt>
    <dgm:pt modelId="{584D870F-95D0-41C7-9317-0B3E3A16B277}">
      <dgm:prSet phldrT="[Texto]" custT="1"/>
      <dgm:spPr/>
      <dgm:t>
        <a:bodyPr/>
        <a:lstStyle/>
        <a:p>
          <a:r>
            <a:rPr lang="es-CO" sz="1800" b="1" smtClean="0"/>
            <a:t>Organización para la Cooperación y el Desarrollo Económico- OCDE </a:t>
          </a:r>
          <a:endParaRPr lang="es-CO" sz="1800" b="1" dirty="0"/>
        </a:p>
      </dgm:t>
    </dgm:pt>
    <dgm:pt modelId="{4E5056E5-4CAB-4BFE-B936-70B2AAD9B056}" type="parTrans" cxnId="{56EC3FB4-B0C9-4A01-8933-7035329EA99A}">
      <dgm:prSet/>
      <dgm:spPr/>
      <dgm:t>
        <a:bodyPr/>
        <a:lstStyle/>
        <a:p>
          <a:endParaRPr lang="es-CO" sz="1800" b="1"/>
        </a:p>
      </dgm:t>
    </dgm:pt>
    <dgm:pt modelId="{EE3AE821-EF77-4CBB-A984-7A70B862AC50}" type="sibTrans" cxnId="{56EC3FB4-B0C9-4A01-8933-7035329EA99A}">
      <dgm:prSet/>
      <dgm:spPr/>
      <dgm:t>
        <a:bodyPr/>
        <a:lstStyle/>
        <a:p>
          <a:endParaRPr lang="es-CO" sz="1800" b="1"/>
        </a:p>
      </dgm:t>
    </dgm:pt>
    <dgm:pt modelId="{331B5D79-C106-4D5D-92DE-9F7D733D2033}">
      <dgm:prSet phldrT="[Texto]" custT="1"/>
      <dgm:spPr/>
      <dgm:t>
        <a:bodyPr/>
        <a:lstStyle/>
        <a:p>
          <a:r>
            <a:rPr lang="es-CO" sz="1800" b="1" smtClean="0"/>
            <a:t>Modelo de alianzas público privadas</a:t>
          </a:r>
          <a:endParaRPr lang="es-CO" sz="1800" b="1" dirty="0"/>
        </a:p>
      </dgm:t>
    </dgm:pt>
    <dgm:pt modelId="{443FFF0B-ABEC-4CB3-AC2A-71FCA5FF34A3}" type="parTrans" cxnId="{926760DE-DAF0-41F5-B3BA-15AAD1D8BB55}">
      <dgm:prSet/>
      <dgm:spPr/>
      <dgm:t>
        <a:bodyPr/>
        <a:lstStyle/>
        <a:p>
          <a:endParaRPr lang="es-CO" sz="1800" b="1"/>
        </a:p>
      </dgm:t>
    </dgm:pt>
    <dgm:pt modelId="{6F0A621F-7447-41F8-9A28-688A411725FD}" type="sibTrans" cxnId="{926760DE-DAF0-41F5-B3BA-15AAD1D8BB55}">
      <dgm:prSet/>
      <dgm:spPr/>
      <dgm:t>
        <a:bodyPr/>
        <a:lstStyle/>
        <a:p>
          <a:endParaRPr lang="es-CO" sz="1800" b="1"/>
        </a:p>
      </dgm:t>
    </dgm:pt>
    <dgm:pt modelId="{FE4BF421-42E5-4779-8DCD-2E0B3A226358}" type="pres">
      <dgm:prSet presAssocID="{5F2B7756-DDD7-4EC5-B4B9-984E862763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CD3C4EEA-56F0-407B-8495-7BA2B7FECE09}" type="pres">
      <dgm:prSet presAssocID="{584D870F-95D0-41C7-9317-0B3E3A16B27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6B6E6A8-EEC2-4F5B-85B4-E519D839CC74}" type="pres">
      <dgm:prSet presAssocID="{EE3AE821-EF77-4CBB-A984-7A70B862AC50}" presName="sibTrans" presStyleCnt="0"/>
      <dgm:spPr/>
      <dgm:t>
        <a:bodyPr/>
        <a:lstStyle/>
        <a:p>
          <a:endParaRPr lang="es-CO"/>
        </a:p>
      </dgm:t>
    </dgm:pt>
    <dgm:pt modelId="{91A4381A-D0C0-4EC7-8A5C-C1DF560DDE60}" type="pres">
      <dgm:prSet presAssocID="{2334406D-2AA1-4526-AFF5-614451E3B1FD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72E57A2-3D1B-428A-9EA1-5D9BE37D6649}" type="pres">
      <dgm:prSet presAssocID="{EBC57F5E-5F85-408E-A1B5-FFDDE0464EE7}" presName="sibTrans" presStyleCnt="0"/>
      <dgm:spPr/>
      <dgm:t>
        <a:bodyPr/>
        <a:lstStyle/>
        <a:p>
          <a:endParaRPr lang="es-CO"/>
        </a:p>
      </dgm:t>
    </dgm:pt>
    <dgm:pt modelId="{A8C07400-6D61-4D46-8846-101D4C5A990D}" type="pres">
      <dgm:prSet presAssocID="{DFC6B641-B993-4A9E-A00B-799852F8705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7DF458E-1D6A-4A69-9A1B-7C9F29523E58}" type="pres">
      <dgm:prSet presAssocID="{1819CA65-FB83-4DCF-A438-6DBD767F12FA}" presName="sibTrans" presStyleCnt="0"/>
      <dgm:spPr/>
      <dgm:t>
        <a:bodyPr/>
        <a:lstStyle/>
        <a:p>
          <a:endParaRPr lang="es-CO"/>
        </a:p>
      </dgm:t>
    </dgm:pt>
    <dgm:pt modelId="{A9987473-18BA-4F9B-B1C5-10DEE89FAF17}" type="pres">
      <dgm:prSet presAssocID="{331B5D79-C106-4D5D-92DE-9F7D733D2033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56EC3FB4-B0C9-4A01-8933-7035329EA99A}" srcId="{5F2B7756-DDD7-4EC5-B4B9-984E8627638D}" destId="{584D870F-95D0-41C7-9317-0B3E3A16B277}" srcOrd="0" destOrd="0" parTransId="{4E5056E5-4CAB-4BFE-B936-70B2AAD9B056}" sibTransId="{EE3AE821-EF77-4CBB-A984-7A70B862AC50}"/>
    <dgm:cxn modelId="{926760DE-DAF0-41F5-B3BA-15AAD1D8BB55}" srcId="{5F2B7756-DDD7-4EC5-B4B9-984E8627638D}" destId="{331B5D79-C106-4D5D-92DE-9F7D733D2033}" srcOrd="3" destOrd="0" parTransId="{443FFF0B-ABEC-4CB3-AC2A-71FCA5FF34A3}" sibTransId="{6F0A621F-7447-41F8-9A28-688A411725FD}"/>
    <dgm:cxn modelId="{01164BAB-FBD2-4BB3-8C5C-DF19CF7D9E56}" type="presOf" srcId="{2334406D-2AA1-4526-AFF5-614451E3B1FD}" destId="{91A4381A-D0C0-4EC7-8A5C-C1DF560DDE60}" srcOrd="0" destOrd="0" presId="urn:microsoft.com/office/officeart/2005/8/layout/default"/>
    <dgm:cxn modelId="{7EFDDDC4-E497-48C0-BAAC-80D7810A3BD1}" srcId="{5F2B7756-DDD7-4EC5-B4B9-984E8627638D}" destId="{DFC6B641-B993-4A9E-A00B-799852F8705F}" srcOrd="2" destOrd="0" parTransId="{2187551A-0B2E-493A-9EA4-C2A7B37B79E4}" sibTransId="{1819CA65-FB83-4DCF-A438-6DBD767F12FA}"/>
    <dgm:cxn modelId="{ED022B1A-3018-4B63-8522-1D26DDDE4E54}" type="presOf" srcId="{331B5D79-C106-4D5D-92DE-9F7D733D2033}" destId="{A9987473-18BA-4F9B-B1C5-10DEE89FAF17}" srcOrd="0" destOrd="0" presId="urn:microsoft.com/office/officeart/2005/8/layout/default"/>
    <dgm:cxn modelId="{16CA83AD-84C1-49F6-9D84-19A9A36A0FCF}" srcId="{5F2B7756-DDD7-4EC5-B4B9-984E8627638D}" destId="{2334406D-2AA1-4526-AFF5-614451E3B1FD}" srcOrd="1" destOrd="0" parTransId="{1587BC93-20E9-4A58-BBB8-2536C4EED506}" sibTransId="{EBC57F5E-5F85-408E-A1B5-FFDDE0464EE7}"/>
    <dgm:cxn modelId="{75D57822-5018-4293-ABDA-41FEEAD355B0}" type="presOf" srcId="{DFC6B641-B993-4A9E-A00B-799852F8705F}" destId="{A8C07400-6D61-4D46-8846-101D4C5A990D}" srcOrd="0" destOrd="0" presId="urn:microsoft.com/office/officeart/2005/8/layout/default"/>
    <dgm:cxn modelId="{FF74E81D-D027-4EF0-B21D-00F381158D3F}" type="presOf" srcId="{5F2B7756-DDD7-4EC5-B4B9-984E8627638D}" destId="{FE4BF421-42E5-4779-8DCD-2E0B3A226358}" srcOrd="0" destOrd="0" presId="urn:microsoft.com/office/officeart/2005/8/layout/default"/>
    <dgm:cxn modelId="{6478816E-8E84-48E7-B5A9-99F140862DC8}" type="presOf" srcId="{584D870F-95D0-41C7-9317-0B3E3A16B277}" destId="{CD3C4EEA-56F0-407B-8495-7BA2B7FECE09}" srcOrd="0" destOrd="0" presId="urn:microsoft.com/office/officeart/2005/8/layout/default"/>
    <dgm:cxn modelId="{A6792447-E971-43B0-98AD-98F3792784A9}" type="presParOf" srcId="{FE4BF421-42E5-4779-8DCD-2E0B3A226358}" destId="{CD3C4EEA-56F0-407B-8495-7BA2B7FECE09}" srcOrd="0" destOrd="0" presId="urn:microsoft.com/office/officeart/2005/8/layout/default"/>
    <dgm:cxn modelId="{0622F6AA-4B1F-47E6-A248-9D8F785E6C35}" type="presParOf" srcId="{FE4BF421-42E5-4779-8DCD-2E0B3A226358}" destId="{36B6E6A8-EEC2-4F5B-85B4-E519D839CC74}" srcOrd="1" destOrd="0" presId="urn:microsoft.com/office/officeart/2005/8/layout/default"/>
    <dgm:cxn modelId="{43C4EA83-D523-484F-AF5C-6264DD38E8E0}" type="presParOf" srcId="{FE4BF421-42E5-4779-8DCD-2E0B3A226358}" destId="{91A4381A-D0C0-4EC7-8A5C-C1DF560DDE60}" srcOrd="2" destOrd="0" presId="urn:microsoft.com/office/officeart/2005/8/layout/default"/>
    <dgm:cxn modelId="{B70DB7BA-28E6-4E54-B657-73BE9531E614}" type="presParOf" srcId="{FE4BF421-42E5-4779-8DCD-2E0B3A226358}" destId="{472E57A2-3D1B-428A-9EA1-5D9BE37D6649}" srcOrd="3" destOrd="0" presId="urn:microsoft.com/office/officeart/2005/8/layout/default"/>
    <dgm:cxn modelId="{6A05F1BC-AFFC-48AF-9D26-C64C494C1723}" type="presParOf" srcId="{FE4BF421-42E5-4779-8DCD-2E0B3A226358}" destId="{A8C07400-6D61-4D46-8846-101D4C5A990D}" srcOrd="4" destOrd="0" presId="urn:microsoft.com/office/officeart/2005/8/layout/default"/>
    <dgm:cxn modelId="{72D467C0-EB13-4364-95AC-386CDC89CA0E}" type="presParOf" srcId="{FE4BF421-42E5-4779-8DCD-2E0B3A226358}" destId="{17DF458E-1D6A-4A69-9A1B-7C9F29523E58}" srcOrd="5" destOrd="0" presId="urn:microsoft.com/office/officeart/2005/8/layout/default"/>
    <dgm:cxn modelId="{58998B05-1325-4EC4-BC81-D59AD5519F62}" type="presParOf" srcId="{FE4BF421-42E5-4779-8DCD-2E0B3A226358}" destId="{A9987473-18BA-4F9B-B1C5-10DEE89FAF1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F2B7756-DDD7-4EC5-B4B9-984E8627638D}" type="doc">
      <dgm:prSet loTypeId="urn:microsoft.com/office/officeart/2005/8/layout/default" loCatId="list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14D2A6F6-81D0-4157-B94F-E0E731BCAE1E}">
      <dgm:prSet custT="1"/>
      <dgm:spPr/>
      <dgm:t>
        <a:bodyPr/>
        <a:lstStyle/>
        <a:p>
          <a:r>
            <a:rPr lang="es-CO" sz="1800" b="1" dirty="0" smtClean="0"/>
            <a:t>UNESCO</a:t>
          </a:r>
        </a:p>
      </dgm:t>
    </dgm:pt>
    <dgm:pt modelId="{E493A632-56FB-422C-9EF7-45016CD83CCA}" type="parTrans" cxnId="{BC3BB047-21A9-43C7-93DE-223D5EA2AC6B}">
      <dgm:prSet/>
      <dgm:spPr/>
      <dgm:t>
        <a:bodyPr/>
        <a:lstStyle/>
        <a:p>
          <a:endParaRPr lang="es-CO" sz="1800" b="1"/>
        </a:p>
      </dgm:t>
    </dgm:pt>
    <dgm:pt modelId="{D46CC667-ED96-4069-AFE8-0195DF7697BB}" type="sibTrans" cxnId="{BC3BB047-21A9-43C7-93DE-223D5EA2AC6B}">
      <dgm:prSet/>
      <dgm:spPr/>
      <dgm:t>
        <a:bodyPr/>
        <a:lstStyle/>
        <a:p>
          <a:endParaRPr lang="es-CO" sz="1800" b="1"/>
        </a:p>
      </dgm:t>
    </dgm:pt>
    <dgm:pt modelId="{30EE4D18-D0B5-47D5-B06D-0CF8586E8771}">
      <dgm:prSet custT="1"/>
      <dgm:spPr/>
      <dgm:t>
        <a:bodyPr/>
        <a:lstStyle/>
        <a:p>
          <a:r>
            <a:rPr lang="es-CO" sz="1800" b="1" smtClean="0"/>
            <a:t>Postobón</a:t>
          </a:r>
          <a:endParaRPr lang="es-CO" sz="1800" b="1" dirty="0" smtClean="0"/>
        </a:p>
      </dgm:t>
    </dgm:pt>
    <dgm:pt modelId="{378E4440-4CED-4C69-9BE9-DCFC9F78D1AF}" type="parTrans" cxnId="{57AB4CD5-DEA9-429C-AFC0-F4D1EF85FFF8}">
      <dgm:prSet/>
      <dgm:spPr/>
      <dgm:t>
        <a:bodyPr/>
        <a:lstStyle/>
        <a:p>
          <a:endParaRPr lang="es-CO" sz="1800" b="1"/>
        </a:p>
      </dgm:t>
    </dgm:pt>
    <dgm:pt modelId="{DA10BDF6-CB1D-4967-8186-F69FFA0AC1CE}" type="sibTrans" cxnId="{57AB4CD5-DEA9-429C-AFC0-F4D1EF85FFF8}">
      <dgm:prSet/>
      <dgm:spPr/>
      <dgm:t>
        <a:bodyPr/>
        <a:lstStyle/>
        <a:p>
          <a:endParaRPr lang="es-CO" sz="1800" b="1"/>
        </a:p>
      </dgm:t>
    </dgm:pt>
    <dgm:pt modelId="{A2AFAB38-F22C-459F-B600-3BA6A6703C2B}">
      <dgm:prSet custT="1"/>
      <dgm:spPr/>
      <dgm:t>
        <a:bodyPr/>
        <a:lstStyle/>
        <a:p>
          <a:r>
            <a:rPr lang="es-CO" sz="1800" b="1" dirty="0" smtClean="0"/>
            <a:t>Computadores para Educar</a:t>
          </a:r>
        </a:p>
      </dgm:t>
    </dgm:pt>
    <dgm:pt modelId="{7A99C652-EE38-4855-9838-EDDE0F47C543}" type="parTrans" cxnId="{2AFE8502-0EE5-443A-B86B-E212523A25B8}">
      <dgm:prSet/>
      <dgm:spPr/>
      <dgm:t>
        <a:bodyPr/>
        <a:lstStyle/>
        <a:p>
          <a:endParaRPr lang="es-CO" sz="1800" b="1"/>
        </a:p>
      </dgm:t>
    </dgm:pt>
    <dgm:pt modelId="{5C6E3F20-3D75-4CBB-AEA7-46A1287C03F2}" type="sibTrans" cxnId="{2AFE8502-0EE5-443A-B86B-E212523A25B8}">
      <dgm:prSet/>
      <dgm:spPr/>
      <dgm:t>
        <a:bodyPr/>
        <a:lstStyle/>
        <a:p>
          <a:endParaRPr lang="es-CO" sz="1800" b="1"/>
        </a:p>
      </dgm:t>
    </dgm:pt>
    <dgm:pt modelId="{729D3059-FB8B-44D7-8B29-CCBBA7ACA19A}" type="pres">
      <dgm:prSet presAssocID="{5F2B7756-DDD7-4EC5-B4B9-984E862763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2A99A439-301F-4926-ACA5-05C7871E3A91}" type="pres">
      <dgm:prSet presAssocID="{14D2A6F6-81D0-4157-B94F-E0E731BCAE1E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0A69D6B-5C98-49AB-9DCB-2A4DE5D88270}" type="pres">
      <dgm:prSet presAssocID="{D46CC667-ED96-4069-AFE8-0195DF7697BB}" presName="sibTrans" presStyleCnt="0"/>
      <dgm:spPr/>
      <dgm:t>
        <a:bodyPr/>
        <a:lstStyle/>
        <a:p>
          <a:endParaRPr lang="es-CO"/>
        </a:p>
      </dgm:t>
    </dgm:pt>
    <dgm:pt modelId="{17397D23-EBF9-4913-AEDA-AC6C0854A617}" type="pres">
      <dgm:prSet presAssocID="{30EE4D18-D0B5-47D5-B06D-0CF8586E8771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D172AA9-FFBF-40E7-AB4D-3CCF9B0E68E7}" type="pres">
      <dgm:prSet presAssocID="{DA10BDF6-CB1D-4967-8186-F69FFA0AC1CE}" presName="sibTrans" presStyleCnt="0"/>
      <dgm:spPr/>
      <dgm:t>
        <a:bodyPr/>
        <a:lstStyle/>
        <a:p>
          <a:endParaRPr lang="es-CO"/>
        </a:p>
      </dgm:t>
    </dgm:pt>
    <dgm:pt modelId="{F3BC6E0B-DF62-4093-A264-AA81C9B7900F}" type="pres">
      <dgm:prSet presAssocID="{A2AFAB38-F22C-459F-B600-3BA6A6703C2B}" presName="node" presStyleLbl="node1" presStyleIdx="2" presStyleCnt="3" custScaleX="11216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2AFE8502-0EE5-443A-B86B-E212523A25B8}" srcId="{5F2B7756-DDD7-4EC5-B4B9-984E8627638D}" destId="{A2AFAB38-F22C-459F-B600-3BA6A6703C2B}" srcOrd="2" destOrd="0" parTransId="{7A99C652-EE38-4855-9838-EDDE0F47C543}" sibTransId="{5C6E3F20-3D75-4CBB-AEA7-46A1287C03F2}"/>
    <dgm:cxn modelId="{096661A7-CD58-47E8-BFFD-AEC5DDC09E0C}" type="presOf" srcId="{30EE4D18-D0B5-47D5-B06D-0CF8586E8771}" destId="{17397D23-EBF9-4913-AEDA-AC6C0854A617}" srcOrd="0" destOrd="0" presId="urn:microsoft.com/office/officeart/2005/8/layout/default"/>
    <dgm:cxn modelId="{DDD3A71A-7D03-47C1-9898-5EDB0C40E76C}" type="presOf" srcId="{5F2B7756-DDD7-4EC5-B4B9-984E8627638D}" destId="{729D3059-FB8B-44D7-8B29-CCBBA7ACA19A}" srcOrd="0" destOrd="0" presId="urn:microsoft.com/office/officeart/2005/8/layout/default"/>
    <dgm:cxn modelId="{24552533-E8E1-42F6-BC61-999CFFCF700A}" type="presOf" srcId="{A2AFAB38-F22C-459F-B600-3BA6A6703C2B}" destId="{F3BC6E0B-DF62-4093-A264-AA81C9B7900F}" srcOrd="0" destOrd="0" presId="urn:microsoft.com/office/officeart/2005/8/layout/default"/>
    <dgm:cxn modelId="{BC3BB047-21A9-43C7-93DE-223D5EA2AC6B}" srcId="{5F2B7756-DDD7-4EC5-B4B9-984E8627638D}" destId="{14D2A6F6-81D0-4157-B94F-E0E731BCAE1E}" srcOrd="0" destOrd="0" parTransId="{E493A632-56FB-422C-9EF7-45016CD83CCA}" sibTransId="{D46CC667-ED96-4069-AFE8-0195DF7697BB}"/>
    <dgm:cxn modelId="{62594401-1FA1-4AB9-811C-48F3E6B854A0}" type="presOf" srcId="{14D2A6F6-81D0-4157-B94F-E0E731BCAE1E}" destId="{2A99A439-301F-4926-ACA5-05C7871E3A91}" srcOrd="0" destOrd="0" presId="urn:microsoft.com/office/officeart/2005/8/layout/default"/>
    <dgm:cxn modelId="{57AB4CD5-DEA9-429C-AFC0-F4D1EF85FFF8}" srcId="{5F2B7756-DDD7-4EC5-B4B9-984E8627638D}" destId="{30EE4D18-D0B5-47D5-B06D-0CF8586E8771}" srcOrd="1" destOrd="0" parTransId="{378E4440-4CED-4C69-9BE9-DCFC9F78D1AF}" sibTransId="{DA10BDF6-CB1D-4967-8186-F69FFA0AC1CE}"/>
    <dgm:cxn modelId="{CFEF633D-B424-4499-8163-01EE07854E74}" type="presParOf" srcId="{729D3059-FB8B-44D7-8B29-CCBBA7ACA19A}" destId="{2A99A439-301F-4926-ACA5-05C7871E3A91}" srcOrd="0" destOrd="0" presId="urn:microsoft.com/office/officeart/2005/8/layout/default"/>
    <dgm:cxn modelId="{B3E8783B-0659-4983-877E-F216294509FB}" type="presParOf" srcId="{729D3059-FB8B-44D7-8B29-CCBBA7ACA19A}" destId="{70A69D6B-5C98-49AB-9DCB-2A4DE5D88270}" srcOrd="1" destOrd="0" presId="urn:microsoft.com/office/officeart/2005/8/layout/default"/>
    <dgm:cxn modelId="{BCD7D12C-83B2-46EC-847D-6C0145770AE7}" type="presParOf" srcId="{729D3059-FB8B-44D7-8B29-CCBBA7ACA19A}" destId="{17397D23-EBF9-4913-AEDA-AC6C0854A617}" srcOrd="2" destOrd="0" presId="urn:microsoft.com/office/officeart/2005/8/layout/default"/>
    <dgm:cxn modelId="{B33B0804-361F-497B-B48C-7D8E8A04A5B2}" type="presParOf" srcId="{729D3059-FB8B-44D7-8B29-CCBBA7ACA19A}" destId="{2D172AA9-FFBF-40E7-AB4D-3CCF9B0E68E7}" srcOrd="3" destOrd="0" presId="urn:microsoft.com/office/officeart/2005/8/layout/default"/>
    <dgm:cxn modelId="{85003755-2D22-4E13-9337-D099B09F5941}" type="presParOf" srcId="{729D3059-FB8B-44D7-8B29-CCBBA7ACA19A}" destId="{F3BC6E0B-DF62-4093-A264-AA81C9B7900F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F2B7756-DDD7-4EC5-B4B9-984E8627638D}" type="doc">
      <dgm:prSet loTypeId="urn:microsoft.com/office/officeart/2005/8/layout/default" loCatId="list" qsTypeId="urn:microsoft.com/office/officeart/2005/8/quickstyle/simple2" qsCatId="simple" csTypeId="urn:microsoft.com/office/officeart/2005/8/colors/accent6_1" csCatId="accent6" phldr="1"/>
      <dgm:spPr/>
      <dgm:t>
        <a:bodyPr/>
        <a:lstStyle/>
        <a:p>
          <a:endParaRPr lang="es-CO"/>
        </a:p>
      </dgm:t>
    </dgm:pt>
    <dgm:pt modelId="{32EDF008-3C48-46B8-A9E8-DAD9B0A48009}">
      <dgm:prSet custT="1"/>
      <dgm:spPr/>
      <dgm:t>
        <a:bodyPr/>
        <a:lstStyle/>
        <a:p>
          <a:r>
            <a:rPr lang="es-CO" sz="1800" b="1" dirty="0" smtClean="0">
              <a:latin typeface="+mj-lt"/>
            </a:rPr>
            <a:t>UNICEF, Programa Mundial de Alimentos, Fundación </a:t>
          </a:r>
          <a:r>
            <a:rPr lang="es-CO" sz="1800" b="1" dirty="0" err="1" smtClean="0">
              <a:latin typeface="+mj-lt"/>
            </a:rPr>
            <a:t>Nutresa</a:t>
          </a:r>
          <a:endParaRPr lang="es-CO" sz="1800" b="1" dirty="0" smtClean="0">
            <a:latin typeface="+mj-lt"/>
          </a:endParaRPr>
        </a:p>
      </dgm:t>
    </dgm:pt>
    <dgm:pt modelId="{C63D4AD5-413C-45FD-93BA-D3D588DE5746}" type="parTrans" cxnId="{15E9752B-E38D-481E-B830-37732E93CF51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A7F8DB30-AA8C-4738-B4E1-64FD93534E97}" type="sibTrans" cxnId="{15E9752B-E38D-481E-B830-37732E93CF51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FC6FA9A3-94AE-4EB5-8CFC-F2170FF24921}">
      <dgm:prSet custT="1"/>
      <dgm:spPr/>
      <dgm:t>
        <a:bodyPr/>
        <a:lstStyle/>
        <a:p>
          <a:r>
            <a:rPr lang="es-CO" sz="1800" b="1" dirty="0" smtClean="0">
              <a:latin typeface="+mj-lt"/>
            </a:rPr>
            <a:t>DIRECTV</a:t>
          </a:r>
        </a:p>
      </dgm:t>
    </dgm:pt>
    <dgm:pt modelId="{B0779A82-5F85-46A3-91B8-D7DA703D2BA4}" type="parTrans" cxnId="{542DCFF7-CEFF-4527-875E-A51D519186C4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F282B966-67CF-4EE2-B5CA-6DB42E0564A4}" type="sibTrans" cxnId="{542DCFF7-CEFF-4527-875E-A51D519186C4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4A1ADEEC-A471-49DF-B6B9-AB6AC1B40271}">
      <dgm:prSet custT="1"/>
      <dgm:spPr/>
      <dgm:t>
        <a:bodyPr/>
        <a:lstStyle/>
        <a:p>
          <a:r>
            <a:rPr lang="es-CO" sz="1800" b="1" dirty="0" smtClean="0">
              <a:latin typeface="+mj-lt"/>
            </a:rPr>
            <a:t>Argos-Telefónica</a:t>
          </a:r>
        </a:p>
      </dgm:t>
    </dgm:pt>
    <dgm:pt modelId="{E16EB30B-B106-4435-A827-5E8FABF51518}" type="parTrans" cxnId="{BABD1DD0-27A3-41F8-9AA1-F7E82FB78FC6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B80D6811-CD2E-4DC5-8E23-2D1D733DA18D}" type="sibTrans" cxnId="{BABD1DD0-27A3-41F8-9AA1-F7E82FB78FC6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3D85F5DA-E94A-4C26-BA20-F600E5CEF3E6}">
      <dgm:prSet custT="1"/>
      <dgm:spPr/>
      <dgm:t>
        <a:bodyPr/>
        <a:lstStyle/>
        <a:p>
          <a:r>
            <a:rPr lang="es-CO" sz="1800" b="1" smtClean="0">
              <a:latin typeface="+mj-lt"/>
            </a:rPr>
            <a:t>LG</a:t>
          </a:r>
          <a:endParaRPr lang="es-CO" sz="1800" b="1">
            <a:latin typeface="+mj-lt"/>
          </a:endParaRPr>
        </a:p>
      </dgm:t>
    </dgm:pt>
    <dgm:pt modelId="{CD75327B-A465-4CA4-9240-E208674D2AC9}" type="parTrans" cxnId="{FC487B2B-49A0-4D2F-92A7-01AD8321D075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876F1DFE-5816-4D7C-B58E-AA1788A3C1B5}" type="sibTrans" cxnId="{FC487B2B-49A0-4D2F-92A7-01AD8321D075}">
      <dgm:prSet/>
      <dgm:spPr/>
      <dgm:t>
        <a:bodyPr/>
        <a:lstStyle/>
        <a:p>
          <a:endParaRPr lang="es-CO" sz="1800" b="1">
            <a:latin typeface="+mj-lt"/>
          </a:endParaRPr>
        </a:p>
      </dgm:t>
    </dgm:pt>
    <dgm:pt modelId="{5BB5BFD5-B52D-42B6-8367-C14AF645D4B7}" type="pres">
      <dgm:prSet presAssocID="{5F2B7756-DDD7-4EC5-B4B9-984E8627638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E9E2E43-6AFD-44FD-A2A0-A9302B79A971}" type="pres">
      <dgm:prSet presAssocID="{32EDF008-3C48-46B8-A9E8-DAD9B0A48009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068312D-209C-4B20-BD9F-3718F3FA2FC5}" type="pres">
      <dgm:prSet presAssocID="{A7F8DB30-AA8C-4738-B4E1-64FD93534E97}" presName="sibTrans" presStyleCnt="0"/>
      <dgm:spPr/>
      <dgm:t>
        <a:bodyPr/>
        <a:lstStyle/>
        <a:p>
          <a:endParaRPr lang="es-CO"/>
        </a:p>
      </dgm:t>
    </dgm:pt>
    <dgm:pt modelId="{DF18DE6D-127A-4F8E-AA5A-0FD8E696D921}" type="pres">
      <dgm:prSet presAssocID="{3D85F5DA-E94A-4C26-BA20-F600E5CEF3E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9954A49-B5F1-4EC1-B6A7-A3FB8001AFCC}" type="pres">
      <dgm:prSet presAssocID="{876F1DFE-5816-4D7C-B58E-AA1788A3C1B5}" presName="sibTrans" presStyleCnt="0"/>
      <dgm:spPr/>
      <dgm:t>
        <a:bodyPr/>
        <a:lstStyle/>
        <a:p>
          <a:endParaRPr lang="es-CO"/>
        </a:p>
      </dgm:t>
    </dgm:pt>
    <dgm:pt modelId="{5D924EB4-C74E-4309-BB66-9EB373604DB1}" type="pres">
      <dgm:prSet presAssocID="{FC6FA9A3-94AE-4EB5-8CFC-F2170FF2492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ED771C9-6182-4B3A-A4CF-769FFF7466FD}" type="pres">
      <dgm:prSet presAssocID="{F282B966-67CF-4EE2-B5CA-6DB42E0564A4}" presName="sibTrans" presStyleCnt="0"/>
      <dgm:spPr/>
      <dgm:t>
        <a:bodyPr/>
        <a:lstStyle/>
        <a:p>
          <a:endParaRPr lang="es-CO"/>
        </a:p>
      </dgm:t>
    </dgm:pt>
    <dgm:pt modelId="{1325FC71-FEC6-4D4E-BFB5-1B07C2ADE981}" type="pres">
      <dgm:prSet presAssocID="{4A1ADEEC-A471-49DF-B6B9-AB6AC1B40271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FC487B2B-49A0-4D2F-92A7-01AD8321D075}" srcId="{5F2B7756-DDD7-4EC5-B4B9-984E8627638D}" destId="{3D85F5DA-E94A-4C26-BA20-F600E5CEF3E6}" srcOrd="1" destOrd="0" parTransId="{CD75327B-A465-4CA4-9240-E208674D2AC9}" sibTransId="{876F1DFE-5816-4D7C-B58E-AA1788A3C1B5}"/>
    <dgm:cxn modelId="{16C3400A-FABF-4F77-B5C9-4883196B05B4}" type="presOf" srcId="{5F2B7756-DDD7-4EC5-B4B9-984E8627638D}" destId="{5BB5BFD5-B52D-42B6-8367-C14AF645D4B7}" srcOrd="0" destOrd="0" presId="urn:microsoft.com/office/officeart/2005/8/layout/default"/>
    <dgm:cxn modelId="{15E9752B-E38D-481E-B830-37732E93CF51}" srcId="{5F2B7756-DDD7-4EC5-B4B9-984E8627638D}" destId="{32EDF008-3C48-46B8-A9E8-DAD9B0A48009}" srcOrd="0" destOrd="0" parTransId="{C63D4AD5-413C-45FD-93BA-D3D588DE5746}" sibTransId="{A7F8DB30-AA8C-4738-B4E1-64FD93534E97}"/>
    <dgm:cxn modelId="{BABD1DD0-27A3-41F8-9AA1-F7E82FB78FC6}" srcId="{5F2B7756-DDD7-4EC5-B4B9-984E8627638D}" destId="{4A1ADEEC-A471-49DF-B6B9-AB6AC1B40271}" srcOrd="3" destOrd="0" parTransId="{E16EB30B-B106-4435-A827-5E8FABF51518}" sibTransId="{B80D6811-CD2E-4DC5-8E23-2D1D733DA18D}"/>
    <dgm:cxn modelId="{91F2F593-A1E2-46ED-90C9-310434765115}" type="presOf" srcId="{32EDF008-3C48-46B8-A9E8-DAD9B0A48009}" destId="{FE9E2E43-6AFD-44FD-A2A0-A9302B79A971}" srcOrd="0" destOrd="0" presId="urn:microsoft.com/office/officeart/2005/8/layout/default"/>
    <dgm:cxn modelId="{629F65F9-27E8-4A7A-9494-5D54B0846DBD}" type="presOf" srcId="{FC6FA9A3-94AE-4EB5-8CFC-F2170FF24921}" destId="{5D924EB4-C74E-4309-BB66-9EB373604DB1}" srcOrd="0" destOrd="0" presId="urn:microsoft.com/office/officeart/2005/8/layout/default"/>
    <dgm:cxn modelId="{542DCFF7-CEFF-4527-875E-A51D519186C4}" srcId="{5F2B7756-DDD7-4EC5-B4B9-984E8627638D}" destId="{FC6FA9A3-94AE-4EB5-8CFC-F2170FF24921}" srcOrd="2" destOrd="0" parTransId="{B0779A82-5F85-46A3-91B8-D7DA703D2BA4}" sibTransId="{F282B966-67CF-4EE2-B5CA-6DB42E0564A4}"/>
    <dgm:cxn modelId="{3487DA58-3D8C-4AF1-AB61-4E6A13AE39D2}" type="presOf" srcId="{3D85F5DA-E94A-4C26-BA20-F600E5CEF3E6}" destId="{DF18DE6D-127A-4F8E-AA5A-0FD8E696D921}" srcOrd="0" destOrd="0" presId="urn:microsoft.com/office/officeart/2005/8/layout/default"/>
    <dgm:cxn modelId="{19EAF7E2-6A9A-4C49-BDF8-3CA428198A62}" type="presOf" srcId="{4A1ADEEC-A471-49DF-B6B9-AB6AC1B40271}" destId="{1325FC71-FEC6-4D4E-BFB5-1B07C2ADE981}" srcOrd="0" destOrd="0" presId="urn:microsoft.com/office/officeart/2005/8/layout/default"/>
    <dgm:cxn modelId="{98A64103-FF9E-4441-B63B-114E05A28BC4}" type="presParOf" srcId="{5BB5BFD5-B52D-42B6-8367-C14AF645D4B7}" destId="{FE9E2E43-6AFD-44FD-A2A0-A9302B79A971}" srcOrd="0" destOrd="0" presId="urn:microsoft.com/office/officeart/2005/8/layout/default"/>
    <dgm:cxn modelId="{E4F7DB95-ADC6-4C60-B14A-08618EE9FD44}" type="presParOf" srcId="{5BB5BFD5-B52D-42B6-8367-C14AF645D4B7}" destId="{7068312D-209C-4B20-BD9F-3718F3FA2FC5}" srcOrd="1" destOrd="0" presId="urn:microsoft.com/office/officeart/2005/8/layout/default"/>
    <dgm:cxn modelId="{7F10F9CF-322F-4D54-9383-AF70640FFEEE}" type="presParOf" srcId="{5BB5BFD5-B52D-42B6-8367-C14AF645D4B7}" destId="{DF18DE6D-127A-4F8E-AA5A-0FD8E696D921}" srcOrd="2" destOrd="0" presId="urn:microsoft.com/office/officeart/2005/8/layout/default"/>
    <dgm:cxn modelId="{E93548B6-BE95-41EA-AE2B-E1F069C8506A}" type="presParOf" srcId="{5BB5BFD5-B52D-42B6-8367-C14AF645D4B7}" destId="{69954A49-B5F1-4EC1-B6A7-A3FB8001AFCC}" srcOrd="3" destOrd="0" presId="urn:microsoft.com/office/officeart/2005/8/layout/default"/>
    <dgm:cxn modelId="{9D1E5549-8419-430B-AC39-26F9ADF1A727}" type="presParOf" srcId="{5BB5BFD5-B52D-42B6-8367-C14AF645D4B7}" destId="{5D924EB4-C74E-4309-BB66-9EB373604DB1}" srcOrd="4" destOrd="0" presId="urn:microsoft.com/office/officeart/2005/8/layout/default"/>
    <dgm:cxn modelId="{24EAEBB5-033E-4ADF-82A7-FC76E7FFAD34}" type="presParOf" srcId="{5BB5BFD5-B52D-42B6-8367-C14AF645D4B7}" destId="{5ED771C9-6182-4B3A-A4CF-769FFF7466FD}" srcOrd="5" destOrd="0" presId="urn:microsoft.com/office/officeart/2005/8/layout/default"/>
    <dgm:cxn modelId="{822843AD-FDA2-4A50-9E76-47B32E63639D}" type="presParOf" srcId="{5BB5BFD5-B52D-42B6-8367-C14AF645D4B7}" destId="{1325FC71-FEC6-4D4E-BFB5-1B07C2ADE981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8214B23-2D00-41E2-9155-012AC896261E}" type="doc">
      <dgm:prSet loTypeId="urn:microsoft.com/office/officeart/2005/8/layout/bProcess3" loCatId="process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E82161D5-32BE-48E6-8C3C-836C241CB1FE}">
      <dgm:prSet phldrT="[Texto]"/>
      <dgm:spPr/>
      <dgm:t>
        <a:bodyPr/>
        <a:lstStyle/>
        <a:p>
          <a:pPr algn="l"/>
          <a:r>
            <a:rPr lang="es-CO" b="1" dirty="0" smtClean="0">
              <a:solidFill>
                <a:schemeClr val="tx1"/>
              </a:solidFill>
              <a:latin typeface="Century Gothic" panose="020B0502020202020204" pitchFamily="34" charset="0"/>
            </a:rPr>
            <a:t>Planeación</a:t>
          </a:r>
          <a:endParaRPr lang="es-CO" b="1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EE2D978-F663-4E83-A7EA-C998B04DC48F}" type="parTrans" cxnId="{A3638BD3-B250-497F-B3C1-E3A90C808D0C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F0A6B7E3-B145-4080-8A7A-640C46673495}" type="sibTrans" cxnId="{A3638BD3-B250-497F-B3C1-E3A90C808D0C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64EE8632-7181-4FE4-8788-DA348D83B6C0}">
      <dgm:prSet phldrT="[Texto]"/>
      <dgm:spPr/>
      <dgm:t>
        <a:bodyPr/>
        <a:lstStyle/>
        <a:p>
          <a:r>
            <a:rPr lang="es-CO" b="1" dirty="0" smtClean="0">
              <a:solidFill>
                <a:schemeClr val="tx1"/>
              </a:solidFill>
              <a:latin typeface="Century Gothic" panose="020B0502020202020204" pitchFamily="34" charset="0"/>
            </a:rPr>
            <a:t>Fortalecimiento</a:t>
          </a:r>
          <a:endParaRPr lang="es-CO" b="1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515F07CD-D794-417B-867D-C0AA79C6AF08}" type="parTrans" cxnId="{86FA9BE1-6E90-46BF-AAD5-D20111890125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47C0749A-6A59-4F66-A9AF-1B49229A6930}" type="sibTrans" cxnId="{86FA9BE1-6E90-46BF-AAD5-D20111890125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B115F299-9DB3-4D87-96CF-60E26EEB5A7C}">
      <dgm:prSet phldrT="[Texto]"/>
      <dgm:spPr/>
      <dgm:t>
        <a:bodyPr/>
        <a:lstStyle/>
        <a:p>
          <a:r>
            <a:rPr lang="es-CO" b="1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s</a:t>
          </a:r>
          <a:endParaRPr lang="es-CO" b="1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ED75FD39-ED22-43E9-B432-2A99A839F9A9}" type="parTrans" cxnId="{AEE43703-59D8-4441-9BCB-D37A6FD8CE5E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7FA648E6-32C3-4EFE-B311-03BAF8BF742F}" type="sibTrans" cxnId="{AEE43703-59D8-4441-9BCB-D37A6FD8CE5E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382DE45D-19C5-4486-94E8-55FB9554CDC0}">
      <dgm:prSet phldrT="[Texto]"/>
      <dgm:spPr/>
      <dgm:t>
        <a:bodyPr/>
        <a:lstStyle/>
        <a:p>
          <a:r>
            <a:rPr lang="es-CO" b="1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</a:t>
          </a:r>
          <a:endParaRPr lang="es-CO" b="1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4F75497-9E36-4410-BDEE-B495280A4718}" type="parTrans" cxnId="{22AABED7-1325-448E-8FDB-101D8C4FC962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9AEA2FF3-2DB7-460D-94FD-5492B4A93D55}" type="sibTrans" cxnId="{22AABED7-1325-448E-8FDB-101D8C4FC962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C5FD4649-2640-4684-A664-323BBE5AFD70}">
      <dgm:prSet/>
      <dgm:spPr/>
      <dgm:t>
        <a:bodyPr/>
        <a:lstStyle/>
        <a:p>
          <a:pPr algn="ctr"/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Viabilidad Financiera –(Julio 2014)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09B8E93-CC37-4413-89D7-564E0CD1B30F}" type="parTrans" cxnId="{1AF94C5A-7BF3-4879-818F-A30CEA60C852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D1425233-3EED-4327-B49C-8CFEF547E825}" type="sibTrans" cxnId="{1AF94C5A-7BF3-4879-818F-A30CEA60C852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FB9B12F-9D6B-46B5-ABAA-E93BCC3E65CA}">
      <dgm:prSet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Expediciones de plantas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01BA4D5-962C-49F3-8766-C4E7FCF079B3}" type="parTrans" cxnId="{EF4DD7DB-7882-49BF-9DD9-4B7F184B6E9A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8B4394AE-CA59-4587-AC2B-1851399BE8F0}" type="sibTrans" cxnId="{EF4DD7DB-7882-49BF-9DD9-4B7F184B6E9A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F9EB662F-8E64-434B-AF4F-5DAF59660AB2}">
      <dgm:prSet/>
      <dgm:spPr/>
      <dgm:t>
        <a:bodyPr/>
        <a:lstStyle/>
        <a:p>
          <a:r>
            <a:rPr lang="es-CO" b="1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</a:t>
          </a:r>
          <a:endParaRPr lang="es-CO" b="1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D75AF771-688A-4F27-9D99-B8FA86FAE1DE}" type="parTrans" cxnId="{261374A6-6D9A-4C2E-B1B5-79AA2A943D9D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35E6D36C-C04F-41BC-9D73-BC3DA25465C1}" type="sibTrans" cxnId="{261374A6-6D9A-4C2E-B1B5-79AA2A943D9D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030EDEEA-C1B2-40A1-A386-7C1A1C512D3E}">
      <dgm:prSet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Realizar </a:t>
          </a:r>
          <a:r>
            <a:rPr lang="es-CO" smtClean="0">
              <a:solidFill>
                <a:schemeClr val="tx1"/>
              </a:solidFill>
              <a:latin typeface="Century Gothic" panose="020B0502020202020204" pitchFamily="34" charset="0"/>
            </a:rPr>
            <a:t>estudio técnico (Julio – Agosto 2014)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5F8C9583-3528-4F94-9C73-FEA4F75CDD87}" type="parTrans" cxnId="{E9280547-623B-4BA0-8248-17545481C76F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1DE95C83-0FAB-492E-898D-E6962B1827FC}" type="sibTrans" cxnId="{E9280547-623B-4BA0-8248-17545481C76F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67AAF6A1-844B-4748-B68A-DD06424EDDFB}">
      <dgm:prSet phldrT="[Texto]"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Adopta Planta  (octubre 2014) y expide actos administrativos (noviembre 2014)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853DA3BC-CB11-48E8-BC16-A9CDB0D08C1A}" type="parTrans" cxnId="{8EA21537-0514-4353-AA39-DE51B7F99941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F3BED82A-C48A-4674-9A05-3EA141E61F9B}" type="sibTrans" cxnId="{8EA21537-0514-4353-AA39-DE51B7F99941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4848EFD-4F09-48E6-B62C-60E159F9C138}">
      <dgm:prSet phldrT="[Texto]"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Notifica a tutores  (Noviembre – Diciembre 2014)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5BBA26B7-D00F-45F1-AC55-B09FD7296FBF}" type="parTrans" cxnId="{38B7234B-DE0D-4D0C-BBC1-B4614E7BF79A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0C153D36-166D-40CD-B60C-2C7CDED62A9B}" type="sibTrans" cxnId="{38B7234B-DE0D-4D0C-BBC1-B4614E7BF79A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7626AD4-91B3-4F15-91CD-0480885B5657}">
      <dgm:prSet phldrT="[Texto]"/>
      <dgm:spPr/>
      <dgm:t>
        <a:bodyPr/>
        <a:lstStyle/>
        <a:p>
          <a:r>
            <a:rPr lang="es-CO" b="1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</a:t>
          </a:r>
          <a:endParaRPr lang="es-CO" b="1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291E87F2-A2F6-43EC-94FF-0063A8B9D34A}" type="parTrans" cxnId="{8438896A-4569-45D6-A689-B5527C11AE20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428A1FE9-C16F-449E-866E-F65C6B626F20}" type="sibTrans" cxnId="{8438896A-4569-45D6-A689-B5527C11AE20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46D25D70-B169-471E-90AC-8184CAD0F758}">
      <dgm:prSet phldrT="[Texto]"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Reporta reemplazos a Fortalecimiento –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3BFEF8CE-FB75-4A4E-81C9-F480B5583D69}" type="parTrans" cxnId="{FA817089-AEB0-42AB-9D76-BBBCF63BC4CE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162DCD4C-70CF-4D37-BC10-31E5645F12B5}" type="sibTrans" cxnId="{FA817089-AEB0-42AB-9D76-BBBCF63BC4CE}">
      <dgm:prSet/>
      <dgm:spPr/>
      <dgm:t>
        <a:bodyPr/>
        <a:lstStyle/>
        <a:p>
          <a:endParaRPr lang="es-CO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4FD0E0C5-A85E-41F7-99AF-8102189B55C0}">
      <dgm:prSet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(Septiembre 2014)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6AD0877B-C4DD-4D28-8C1B-D045973E8711}" type="parTrans" cxnId="{CF2B1239-EC44-4FE1-9DE1-8512A402F331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A844694A-C1EC-4247-9E03-5320C986308B}" type="sibTrans" cxnId="{CF2B1239-EC44-4FE1-9DE1-8512A402F331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1FDDBEE4-FB13-4C8E-82D9-9B669163035E}">
      <dgm:prSet phldrT="[Texto]"/>
      <dgm:spPr/>
      <dgm:t>
        <a:bodyPr/>
        <a:lstStyle/>
        <a:p>
          <a:r>
            <a:rPr lang="es-CO" dirty="0" smtClean="0">
              <a:solidFill>
                <a:schemeClr val="tx1"/>
              </a:solidFill>
              <a:latin typeface="Century Gothic" panose="020B0502020202020204" pitchFamily="34" charset="0"/>
            </a:rPr>
            <a:t>(Enero 2015)</a:t>
          </a:r>
          <a:endParaRPr lang="es-CO" dirty="0">
            <a:solidFill>
              <a:schemeClr val="tx1"/>
            </a:solidFill>
            <a:latin typeface="Century Gothic" panose="020B0502020202020204" pitchFamily="34" charset="0"/>
          </a:endParaRPr>
        </a:p>
      </dgm:t>
    </dgm:pt>
    <dgm:pt modelId="{C6F36AA6-3199-47AC-8410-23910C8E66FB}" type="parTrans" cxnId="{DE11BBC9-EABB-4C82-802C-6CD68D537959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6EEB953D-E2F1-4EDC-8651-94B6A1DA3A07}" type="sibTrans" cxnId="{DE11BBC9-EABB-4C82-802C-6CD68D537959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2E707C44-CF68-4994-A735-59A6176153F9}" type="pres">
      <dgm:prSet presAssocID="{28214B23-2D00-41E2-9155-012AC896261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601CB60-C6ED-4669-9E2B-4F166B394AEB}" type="pres">
      <dgm:prSet presAssocID="{E82161D5-32BE-48E6-8C3C-836C241CB1FE}" presName="node" presStyleLbl="node1" presStyleIdx="0" presStyleCnt="6" custLinFactNeighborX="-339" custLinFactNeighborY="-98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E36431A-0EE4-4BCD-96C4-DAD89C64BE85}" type="pres">
      <dgm:prSet presAssocID="{F0A6B7E3-B145-4080-8A7A-640C46673495}" presName="sibTrans" presStyleLbl="sibTrans1D1" presStyleIdx="0" presStyleCnt="5"/>
      <dgm:spPr/>
      <dgm:t>
        <a:bodyPr/>
        <a:lstStyle/>
        <a:p>
          <a:endParaRPr lang="es-CO"/>
        </a:p>
      </dgm:t>
    </dgm:pt>
    <dgm:pt modelId="{E26D620C-E646-4F35-91B5-78204605C2A0}" type="pres">
      <dgm:prSet presAssocID="{F0A6B7E3-B145-4080-8A7A-640C46673495}" presName="connectorText" presStyleLbl="sibTrans1D1" presStyleIdx="0" presStyleCnt="5"/>
      <dgm:spPr/>
      <dgm:t>
        <a:bodyPr/>
        <a:lstStyle/>
        <a:p>
          <a:endParaRPr lang="es-CO"/>
        </a:p>
      </dgm:t>
    </dgm:pt>
    <dgm:pt modelId="{3C6C1BD4-1F36-4E77-BEE9-B5406433416F}" type="pres">
      <dgm:prSet presAssocID="{F9EB662F-8E64-434B-AF4F-5DAF59660AB2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94F2FC9-03D3-4A4D-BA0D-D566CEC38817}" type="pres">
      <dgm:prSet presAssocID="{35E6D36C-C04F-41BC-9D73-BC3DA25465C1}" presName="sibTrans" presStyleLbl="sibTrans1D1" presStyleIdx="1" presStyleCnt="5"/>
      <dgm:spPr/>
      <dgm:t>
        <a:bodyPr/>
        <a:lstStyle/>
        <a:p>
          <a:endParaRPr lang="es-CO"/>
        </a:p>
      </dgm:t>
    </dgm:pt>
    <dgm:pt modelId="{5F056F25-6F91-4D32-9057-6FB183244037}" type="pres">
      <dgm:prSet presAssocID="{35E6D36C-C04F-41BC-9D73-BC3DA25465C1}" presName="connectorText" presStyleLbl="sibTrans1D1" presStyleIdx="1" presStyleCnt="5"/>
      <dgm:spPr/>
      <dgm:t>
        <a:bodyPr/>
        <a:lstStyle/>
        <a:p>
          <a:endParaRPr lang="es-CO"/>
        </a:p>
      </dgm:t>
    </dgm:pt>
    <dgm:pt modelId="{545629EF-2BF0-4EF9-9F02-2FD768F4B127}" type="pres">
      <dgm:prSet presAssocID="{64EE8632-7181-4FE4-8788-DA348D83B6C0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9D9C5B0-74EE-4A06-AEBD-4400DA5F02A7}" type="pres">
      <dgm:prSet presAssocID="{47C0749A-6A59-4F66-A9AF-1B49229A6930}" presName="sibTrans" presStyleLbl="sibTrans1D1" presStyleIdx="2" presStyleCnt="5"/>
      <dgm:spPr/>
      <dgm:t>
        <a:bodyPr/>
        <a:lstStyle/>
        <a:p>
          <a:endParaRPr lang="es-CO"/>
        </a:p>
      </dgm:t>
    </dgm:pt>
    <dgm:pt modelId="{C1857953-EF26-4884-93F9-786676E154D8}" type="pres">
      <dgm:prSet presAssocID="{47C0749A-6A59-4F66-A9AF-1B49229A6930}" presName="connectorText" presStyleLbl="sibTrans1D1" presStyleIdx="2" presStyleCnt="5"/>
      <dgm:spPr/>
      <dgm:t>
        <a:bodyPr/>
        <a:lstStyle/>
        <a:p>
          <a:endParaRPr lang="es-CO"/>
        </a:p>
      </dgm:t>
    </dgm:pt>
    <dgm:pt modelId="{298DB47E-31B5-4ACD-A81F-538B55E90792}" type="pres">
      <dgm:prSet presAssocID="{B115F299-9DB3-4D87-96CF-60E26EEB5A7C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B6ECB8D-B6A8-4A9A-8903-300CE3ED2561}" type="pres">
      <dgm:prSet presAssocID="{7FA648E6-32C3-4EFE-B311-03BAF8BF742F}" presName="sibTrans" presStyleLbl="sibTrans1D1" presStyleIdx="3" presStyleCnt="5"/>
      <dgm:spPr/>
      <dgm:t>
        <a:bodyPr/>
        <a:lstStyle/>
        <a:p>
          <a:endParaRPr lang="es-CO"/>
        </a:p>
      </dgm:t>
    </dgm:pt>
    <dgm:pt modelId="{BFCF6EB4-C49B-471A-83D7-D1B70F7B56A7}" type="pres">
      <dgm:prSet presAssocID="{7FA648E6-32C3-4EFE-B311-03BAF8BF742F}" presName="connectorText" presStyleLbl="sibTrans1D1" presStyleIdx="3" presStyleCnt="5"/>
      <dgm:spPr/>
      <dgm:t>
        <a:bodyPr/>
        <a:lstStyle/>
        <a:p>
          <a:endParaRPr lang="es-CO"/>
        </a:p>
      </dgm:t>
    </dgm:pt>
    <dgm:pt modelId="{34E530BC-6600-4632-8E44-D29A6ECFDAAB}" type="pres">
      <dgm:prSet presAssocID="{382DE45D-19C5-4486-94E8-55FB9554CDC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389D564-21EF-4182-90D9-5E5977D6CE73}" type="pres">
      <dgm:prSet presAssocID="{9AEA2FF3-2DB7-460D-94FD-5492B4A93D55}" presName="sibTrans" presStyleLbl="sibTrans1D1" presStyleIdx="4" presStyleCnt="5"/>
      <dgm:spPr/>
      <dgm:t>
        <a:bodyPr/>
        <a:lstStyle/>
        <a:p>
          <a:endParaRPr lang="es-CO"/>
        </a:p>
      </dgm:t>
    </dgm:pt>
    <dgm:pt modelId="{08C34994-DA5E-4269-811C-917C78FB5EE6}" type="pres">
      <dgm:prSet presAssocID="{9AEA2FF3-2DB7-460D-94FD-5492B4A93D55}" presName="connectorText" presStyleLbl="sibTrans1D1" presStyleIdx="4" presStyleCnt="5"/>
      <dgm:spPr/>
      <dgm:t>
        <a:bodyPr/>
        <a:lstStyle/>
        <a:p>
          <a:endParaRPr lang="es-CO"/>
        </a:p>
      </dgm:t>
    </dgm:pt>
    <dgm:pt modelId="{453A707D-2862-4860-AE7F-C144678E3551}" type="pres">
      <dgm:prSet presAssocID="{27626AD4-91B3-4F15-91CD-0480885B5657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F921268-A65C-48BE-85E0-17863C2C92A8}" type="presOf" srcId="{E82161D5-32BE-48E6-8C3C-836C241CB1FE}" destId="{7601CB60-C6ED-4669-9E2B-4F166B394AEB}" srcOrd="0" destOrd="0" presId="urn:microsoft.com/office/officeart/2005/8/layout/bProcess3"/>
    <dgm:cxn modelId="{4783044C-9C1A-4125-BB00-29E87E53DBFE}" type="presOf" srcId="{B115F299-9DB3-4D87-96CF-60E26EEB5A7C}" destId="{298DB47E-31B5-4ACD-A81F-538B55E90792}" srcOrd="0" destOrd="0" presId="urn:microsoft.com/office/officeart/2005/8/layout/bProcess3"/>
    <dgm:cxn modelId="{A66FB47A-C791-4FDD-8C08-5BE754DFB3F3}" type="presOf" srcId="{35E6D36C-C04F-41BC-9D73-BC3DA25465C1}" destId="{5F056F25-6F91-4D32-9057-6FB183244037}" srcOrd="1" destOrd="0" presId="urn:microsoft.com/office/officeart/2005/8/layout/bProcess3"/>
    <dgm:cxn modelId="{1AF94C5A-7BF3-4879-818F-A30CEA60C852}" srcId="{E82161D5-32BE-48E6-8C3C-836C241CB1FE}" destId="{C5FD4649-2640-4684-A664-323BBE5AFD70}" srcOrd="0" destOrd="0" parTransId="{209B8E93-CC37-4413-89D7-564E0CD1B30F}" sibTransId="{D1425233-3EED-4327-B49C-8CFEF547E825}"/>
    <dgm:cxn modelId="{E9280547-623B-4BA0-8248-17545481C76F}" srcId="{F9EB662F-8E64-434B-AF4F-5DAF59660AB2}" destId="{030EDEEA-C1B2-40A1-A386-7C1A1C512D3E}" srcOrd="0" destOrd="0" parTransId="{5F8C9583-3528-4F94-9C73-FEA4F75CDD87}" sibTransId="{1DE95C83-0FAB-492E-898D-E6962B1827FC}"/>
    <dgm:cxn modelId="{22AABED7-1325-448E-8FDB-101D8C4FC962}" srcId="{28214B23-2D00-41E2-9155-012AC896261E}" destId="{382DE45D-19C5-4486-94E8-55FB9554CDC0}" srcOrd="4" destOrd="0" parTransId="{24F75497-9E36-4410-BDEE-B495280A4718}" sibTransId="{9AEA2FF3-2DB7-460D-94FD-5492B4A93D55}"/>
    <dgm:cxn modelId="{B5E3C0A5-C3AA-41DB-89C3-91017649BA32}" type="presOf" srcId="{9AEA2FF3-2DB7-460D-94FD-5492B4A93D55}" destId="{6389D564-21EF-4182-90D9-5E5977D6CE73}" srcOrd="0" destOrd="0" presId="urn:microsoft.com/office/officeart/2005/8/layout/bProcess3"/>
    <dgm:cxn modelId="{EE68DE80-2360-4C70-8749-4A49E7C124C3}" type="presOf" srcId="{47C0749A-6A59-4F66-A9AF-1B49229A6930}" destId="{C1857953-EF26-4884-93F9-786676E154D8}" srcOrd="1" destOrd="0" presId="urn:microsoft.com/office/officeart/2005/8/layout/bProcess3"/>
    <dgm:cxn modelId="{86FA9BE1-6E90-46BF-AAD5-D20111890125}" srcId="{28214B23-2D00-41E2-9155-012AC896261E}" destId="{64EE8632-7181-4FE4-8788-DA348D83B6C0}" srcOrd="2" destOrd="0" parTransId="{515F07CD-D794-417B-867D-C0AA79C6AF08}" sibTransId="{47C0749A-6A59-4F66-A9AF-1B49229A6930}"/>
    <dgm:cxn modelId="{0E73B4C4-E094-465A-9578-61B7CEB5DB7C}" type="presOf" srcId="{7FA648E6-32C3-4EFE-B311-03BAF8BF742F}" destId="{BFCF6EB4-C49B-471A-83D7-D1B70F7B56A7}" srcOrd="1" destOrd="0" presId="urn:microsoft.com/office/officeart/2005/8/layout/bProcess3"/>
    <dgm:cxn modelId="{2E3232DD-AFAF-4A5F-8E61-911568897534}" type="presOf" srcId="{9AEA2FF3-2DB7-460D-94FD-5492B4A93D55}" destId="{08C34994-DA5E-4269-811C-917C78FB5EE6}" srcOrd="1" destOrd="0" presId="urn:microsoft.com/office/officeart/2005/8/layout/bProcess3"/>
    <dgm:cxn modelId="{A7EC8A99-77E5-4FAC-A8E5-C0786137E31E}" type="presOf" srcId="{F0A6B7E3-B145-4080-8A7A-640C46673495}" destId="{E26D620C-E646-4F35-91B5-78204605C2A0}" srcOrd="1" destOrd="0" presId="urn:microsoft.com/office/officeart/2005/8/layout/bProcess3"/>
    <dgm:cxn modelId="{AEE43703-59D8-4441-9BCB-D37A6FD8CE5E}" srcId="{28214B23-2D00-41E2-9155-012AC896261E}" destId="{B115F299-9DB3-4D87-96CF-60E26EEB5A7C}" srcOrd="3" destOrd="0" parTransId="{ED75FD39-ED22-43E9-B432-2A99A839F9A9}" sibTransId="{7FA648E6-32C3-4EFE-B311-03BAF8BF742F}"/>
    <dgm:cxn modelId="{DE11BBC9-EABB-4C82-802C-6CD68D537959}" srcId="{27626AD4-91B3-4F15-91CD-0480885B5657}" destId="{1FDDBEE4-FB13-4C8E-82D9-9B669163035E}" srcOrd="1" destOrd="0" parTransId="{C6F36AA6-3199-47AC-8410-23910C8E66FB}" sibTransId="{6EEB953D-E2F1-4EDC-8651-94B6A1DA3A07}"/>
    <dgm:cxn modelId="{6B560817-B114-435B-91D5-41C3AC6C3904}" type="presOf" srcId="{4FD0E0C5-A85E-41F7-99AF-8102189B55C0}" destId="{545629EF-2BF0-4EF9-9F02-2FD768F4B127}" srcOrd="0" destOrd="2" presId="urn:microsoft.com/office/officeart/2005/8/layout/bProcess3"/>
    <dgm:cxn modelId="{A442E9A8-B907-4461-8955-DC91DAD4D0C1}" type="presOf" srcId="{C5FD4649-2640-4684-A664-323BBE5AFD70}" destId="{7601CB60-C6ED-4669-9E2B-4F166B394AEB}" srcOrd="0" destOrd="1" presId="urn:microsoft.com/office/officeart/2005/8/layout/bProcess3"/>
    <dgm:cxn modelId="{DA0F0641-CB3C-44A1-B8CA-C20579DAACF1}" type="presOf" srcId="{35E6D36C-C04F-41BC-9D73-BC3DA25465C1}" destId="{294F2FC9-03D3-4A4D-BA0D-D566CEC38817}" srcOrd="0" destOrd="0" presId="urn:microsoft.com/office/officeart/2005/8/layout/bProcess3"/>
    <dgm:cxn modelId="{AAB75A53-55F5-42D6-B20F-4CD920C1AA82}" type="presOf" srcId="{F0A6B7E3-B145-4080-8A7A-640C46673495}" destId="{5E36431A-0EE4-4BCD-96C4-DAD89C64BE85}" srcOrd="0" destOrd="0" presId="urn:microsoft.com/office/officeart/2005/8/layout/bProcess3"/>
    <dgm:cxn modelId="{BF246102-513F-46AD-B64F-322087708710}" type="presOf" srcId="{F9EB662F-8E64-434B-AF4F-5DAF59660AB2}" destId="{3C6C1BD4-1F36-4E77-BEE9-B5406433416F}" srcOrd="0" destOrd="0" presId="urn:microsoft.com/office/officeart/2005/8/layout/bProcess3"/>
    <dgm:cxn modelId="{992480EA-F7CC-40C6-9396-B7D2976A359F}" type="presOf" srcId="{030EDEEA-C1B2-40A1-A386-7C1A1C512D3E}" destId="{3C6C1BD4-1F36-4E77-BEE9-B5406433416F}" srcOrd="0" destOrd="1" presId="urn:microsoft.com/office/officeart/2005/8/layout/bProcess3"/>
    <dgm:cxn modelId="{8EA21537-0514-4353-AA39-DE51B7F99941}" srcId="{B115F299-9DB3-4D87-96CF-60E26EEB5A7C}" destId="{67AAF6A1-844B-4748-B68A-DD06424EDDFB}" srcOrd="0" destOrd="0" parTransId="{853DA3BC-CB11-48E8-BC16-A9CDB0D08C1A}" sibTransId="{F3BED82A-C48A-4674-9A05-3EA141E61F9B}"/>
    <dgm:cxn modelId="{49B54BBD-38AE-4710-BF3D-E15579C76566}" type="presOf" srcId="{1FDDBEE4-FB13-4C8E-82D9-9B669163035E}" destId="{453A707D-2862-4860-AE7F-C144678E3551}" srcOrd="0" destOrd="2" presId="urn:microsoft.com/office/officeart/2005/8/layout/bProcess3"/>
    <dgm:cxn modelId="{33EB13E9-1229-4510-9A8D-ED0F4CDCC42F}" type="presOf" srcId="{28214B23-2D00-41E2-9155-012AC896261E}" destId="{2E707C44-CF68-4994-A735-59A6176153F9}" srcOrd="0" destOrd="0" presId="urn:microsoft.com/office/officeart/2005/8/layout/bProcess3"/>
    <dgm:cxn modelId="{261374A6-6D9A-4C2E-B1B5-79AA2A943D9D}" srcId="{28214B23-2D00-41E2-9155-012AC896261E}" destId="{F9EB662F-8E64-434B-AF4F-5DAF59660AB2}" srcOrd="1" destOrd="0" parTransId="{D75AF771-688A-4F27-9D99-B8FA86FAE1DE}" sibTransId="{35E6D36C-C04F-41BC-9D73-BC3DA25465C1}"/>
    <dgm:cxn modelId="{FA817089-AEB0-42AB-9D76-BBBCF63BC4CE}" srcId="{27626AD4-91B3-4F15-91CD-0480885B5657}" destId="{46D25D70-B169-471E-90AC-8184CAD0F758}" srcOrd="0" destOrd="0" parTransId="{3BFEF8CE-FB75-4A4E-81C9-F480B5583D69}" sibTransId="{162DCD4C-70CF-4D37-BC10-31E5645F12B5}"/>
    <dgm:cxn modelId="{B366FE95-7A6A-4CBC-8081-C61E97606117}" type="presOf" srcId="{2FB9B12F-9D6B-46B5-ABAA-E93BCC3E65CA}" destId="{545629EF-2BF0-4EF9-9F02-2FD768F4B127}" srcOrd="0" destOrd="1" presId="urn:microsoft.com/office/officeart/2005/8/layout/bProcess3"/>
    <dgm:cxn modelId="{A3638BD3-B250-497F-B3C1-E3A90C808D0C}" srcId="{28214B23-2D00-41E2-9155-012AC896261E}" destId="{E82161D5-32BE-48E6-8C3C-836C241CB1FE}" srcOrd="0" destOrd="0" parTransId="{2EE2D978-F663-4E83-A7EA-C998B04DC48F}" sibTransId="{F0A6B7E3-B145-4080-8A7A-640C46673495}"/>
    <dgm:cxn modelId="{0B2A5630-7CBE-4E7D-AF50-8372F6297713}" type="presOf" srcId="{46D25D70-B169-471E-90AC-8184CAD0F758}" destId="{453A707D-2862-4860-AE7F-C144678E3551}" srcOrd="0" destOrd="1" presId="urn:microsoft.com/office/officeart/2005/8/layout/bProcess3"/>
    <dgm:cxn modelId="{CF2B1239-EC44-4FE1-9DE1-8512A402F331}" srcId="{64EE8632-7181-4FE4-8788-DA348D83B6C0}" destId="{4FD0E0C5-A85E-41F7-99AF-8102189B55C0}" srcOrd="1" destOrd="0" parTransId="{6AD0877B-C4DD-4D28-8C1B-D045973E8711}" sibTransId="{A844694A-C1EC-4247-9E03-5320C986308B}"/>
    <dgm:cxn modelId="{8438896A-4569-45D6-A689-B5527C11AE20}" srcId="{28214B23-2D00-41E2-9155-012AC896261E}" destId="{27626AD4-91B3-4F15-91CD-0480885B5657}" srcOrd="5" destOrd="0" parTransId="{291E87F2-A2F6-43EC-94FF-0063A8B9D34A}" sibTransId="{428A1FE9-C16F-449E-866E-F65C6B626F20}"/>
    <dgm:cxn modelId="{8693AD14-CC3A-49DC-B0CD-0ECF18AC8421}" type="presOf" srcId="{382DE45D-19C5-4486-94E8-55FB9554CDC0}" destId="{34E530BC-6600-4632-8E44-D29A6ECFDAAB}" srcOrd="0" destOrd="0" presId="urn:microsoft.com/office/officeart/2005/8/layout/bProcess3"/>
    <dgm:cxn modelId="{38B7234B-DE0D-4D0C-BBC1-B4614E7BF79A}" srcId="{382DE45D-19C5-4486-94E8-55FB9554CDC0}" destId="{24848EFD-4F09-48E6-B62C-60E159F9C138}" srcOrd="0" destOrd="0" parTransId="{5BBA26B7-D00F-45F1-AC55-B09FD7296FBF}" sibTransId="{0C153D36-166D-40CD-B60C-2C7CDED62A9B}"/>
    <dgm:cxn modelId="{C7940F3D-9D34-4E9F-AAAA-A3A32D757EE1}" type="presOf" srcId="{7FA648E6-32C3-4EFE-B311-03BAF8BF742F}" destId="{CB6ECB8D-B6A8-4A9A-8903-300CE3ED2561}" srcOrd="0" destOrd="0" presId="urn:microsoft.com/office/officeart/2005/8/layout/bProcess3"/>
    <dgm:cxn modelId="{C9E770D4-865F-46F5-8D18-C83246788C0B}" type="presOf" srcId="{24848EFD-4F09-48E6-B62C-60E159F9C138}" destId="{34E530BC-6600-4632-8E44-D29A6ECFDAAB}" srcOrd="0" destOrd="1" presId="urn:microsoft.com/office/officeart/2005/8/layout/bProcess3"/>
    <dgm:cxn modelId="{F759AE85-FE7C-448E-BB05-B2EDA89FA7E5}" type="presOf" srcId="{67AAF6A1-844B-4748-B68A-DD06424EDDFB}" destId="{298DB47E-31B5-4ACD-A81F-538B55E90792}" srcOrd="0" destOrd="1" presId="urn:microsoft.com/office/officeart/2005/8/layout/bProcess3"/>
    <dgm:cxn modelId="{EF4DD7DB-7882-49BF-9DD9-4B7F184B6E9A}" srcId="{64EE8632-7181-4FE4-8788-DA348D83B6C0}" destId="{2FB9B12F-9D6B-46B5-ABAA-E93BCC3E65CA}" srcOrd="0" destOrd="0" parTransId="{201BA4D5-962C-49F3-8766-C4E7FCF079B3}" sibTransId="{8B4394AE-CA59-4587-AC2B-1851399BE8F0}"/>
    <dgm:cxn modelId="{B23BA928-5FD5-4C29-A138-8673CF3F6559}" type="presOf" srcId="{27626AD4-91B3-4F15-91CD-0480885B5657}" destId="{453A707D-2862-4860-AE7F-C144678E3551}" srcOrd="0" destOrd="0" presId="urn:microsoft.com/office/officeart/2005/8/layout/bProcess3"/>
    <dgm:cxn modelId="{AC6145F9-357C-474B-9DA2-BCDCAC90DC36}" type="presOf" srcId="{64EE8632-7181-4FE4-8788-DA348D83B6C0}" destId="{545629EF-2BF0-4EF9-9F02-2FD768F4B127}" srcOrd="0" destOrd="0" presId="urn:microsoft.com/office/officeart/2005/8/layout/bProcess3"/>
    <dgm:cxn modelId="{AABEFF70-18D1-4DB8-A7EE-EFA4F0AC09CE}" type="presOf" srcId="{47C0749A-6A59-4F66-A9AF-1B49229A6930}" destId="{A9D9C5B0-74EE-4A06-AEBD-4400DA5F02A7}" srcOrd="0" destOrd="0" presId="urn:microsoft.com/office/officeart/2005/8/layout/bProcess3"/>
    <dgm:cxn modelId="{2DCA4A8A-15EB-46D4-ABF2-B80C1CDC3AB4}" type="presParOf" srcId="{2E707C44-CF68-4994-A735-59A6176153F9}" destId="{7601CB60-C6ED-4669-9E2B-4F166B394AEB}" srcOrd="0" destOrd="0" presId="urn:microsoft.com/office/officeart/2005/8/layout/bProcess3"/>
    <dgm:cxn modelId="{B48756C9-2A7C-425F-A5CB-96A7CEBAE583}" type="presParOf" srcId="{2E707C44-CF68-4994-A735-59A6176153F9}" destId="{5E36431A-0EE4-4BCD-96C4-DAD89C64BE85}" srcOrd="1" destOrd="0" presId="urn:microsoft.com/office/officeart/2005/8/layout/bProcess3"/>
    <dgm:cxn modelId="{C657B657-A9F5-48CB-BCE7-8BDCF37E9D1F}" type="presParOf" srcId="{5E36431A-0EE4-4BCD-96C4-DAD89C64BE85}" destId="{E26D620C-E646-4F35-91B5-78204605C2A0}" srcOrd="0" destOrd="0" presId="urn:microsoft.com/office/officeart/2005/8/layout/bProcess3"/>
    <dgm:cxn modelId="{191A7E5E-7A72-4A1A-A2C1-4507FF10A25A}" type="presParOf" srcId="{2E707C44-CF68-4994-A735-59A6176153F9}" destId="{3C6C1BD4-1F36-4E77-BEE9-B5406433416F}" srcOrd="2" destOrd="0" presId="urn:microsoft.com/office/officeart/2005/8/layout/bProcess3"/>
    <dgm:cxn modelId="{3B24591C-9AF0-41A2-9671-44A23071736A}" type="presParOf" srcId="{2E707C44-CF68-4994-A735-59A6176153F9}" destId="{294F2FC9-03D3-4A4D-BA0D-D566CEC38817}" srcOrd="3" destOrd="0" presId="urn:microsoft.com/office/officeart/2005/8/layout/bProcess3"/>
    <dgm:cxn modelId="{1682C446-2BB4-4A9C-8F75-AF9DC642555F}" type="presParOf" srcId="{294F2FC9-03D3-4A4D-BA0D-D566CEC38817}" destId="{5F056F25-6F91-4D32-9057-6FB183244037}" srcOrd="0" destOrd="0" presId="urn:microsoft.com/office/officeart/2005/8/layout/bProcess3"/>
    <dgm:cxn modelId="{AA667394-A296-49CE-BB8B-57661496AD5C}" type="presParOf" srcId="{2E707C44-CF68-4994-A735-59A6176153F9}" destId="{545629EF-2BF0-4EF9-9F02-2FD768F4B127}" srcOrd="4" destOrd="0" presId="urn:microsoft.com/office/officeart/2005/8/layout/bProcess3"/>
    <dgm:cxn modelId="{CD96A47C-AB03-4D5B-A12E-C6E795722CCB}" type="presParOf" srcId="{2E707C44-CF68-4994-A735-59A6176153F9}" destId="{A9D9C5B0-74EE-4A06-AEBD-4400DA5F02A7}" srcOrd="5" destOrd="0" presId="urn:microsoft.com/office/officeart/2005/8/layout/bProcess3"/>
    <dgm:cxn modelId="{FFA66141-97B2-4189-B184-C111CD30BADE}" type="presParOf" srcId="{A9D9C5B0-74EE-4A06-AEBD-4400DA5F02A7}" destId="{C1857953-EF26-4884-93F9-786676E154D8}" srcOrd="0" destOrd="0" presId="urn:microsoft.com/office/officeart/2005/8/layout/bProcess3"/>
    <dgm:cxn modelId="{6F03DE9F-A927-4569-A164-3AC90FA33393}" type="presParOf" srcId="{2E707C44-CF68-4994-A735-59A6176153F9}" destId="{298DB47E-31B5-4ACD-A81F-538B55E90792}" srcOrd="6" destOrd="0" presId="urn:microsoft.com/office/officeart/2005/8/layout/bProcess3"/>
    <dgm:cxn modelId="{D9C21FE1-3C6B-420B-97F8-AC5B16061607}" type="presParOf" srcId="{2E707C44-CF68-4994-A735-59A6176153F9}" destId="{CB6ECB8D-B6A8-4A9A-8903-300CE3ED2561}" srcOrd="7" destOrd="0" presId="urn:microsoft.com/office/officeart/2005/8/layout/bProcess3"/>
    <dgm:cxn modelId="{A053EEB2-C9E5-4BF2-938F-4F7378E4F6CF}" type="presParOf" srcId="{CB6ECB8D-B6A8-4A9A-8903-300CE3ED2561}" destId="{BFCF6EB4-C49B-471A-83D7-D1B70F7B56A7}" srcOrd="0" destOrd="0" presId="urn:microsoft.com/office/officeart/2005/8/layout/bProcess3"/>
    <dgm:cxn modelId="{56D6092A-2C29-4514-980F-E5B04AE33211}" type="presParOf" srcId="{2E707C44-CF68-4994-A735-59A6176153F9}" destId="{34E530BC-6600-4632-8E44-D29A6ECFDAAB}" srcOrd="8" destOrd="0" presId="urn:microsoft.com/office/officeart/2005/8/layout/bProcess3"/>
    <dgm:cxn modelId="{9D5735A0-4DE5-40C8-860E-C4FC48DAC0CD}" type="presParOf" srcId="{2E707C44-CF68-4994-A735-59A6176153F9}" destId="{6389D564-21EF-4182-90D9-5E5977D6CE73}" srcOrd="9" destOrd="0" presId="urn:microsoft.com/office/officeart/2005/8/layout/bProcess3"/>
    <dgm:cxn modelId="{707E63BB-B9B1-4E28-823E-2026B9FBA141}" type="presParOf" srcId="{6389D564-21EF-4182-90D9-5E5977D6CE73}" destId="{08C34994-DA5E-4269-811C-917C78FB5EE6}" srcOrd="0" destOrd="0" presId="urn:microsoft.com/office/officeart/2005/8/layout/bProcess3"/>
    <dgm:cxn modelId="{86847B1B-C934-4D91-8927-113FFDE7CDBD}" type="presParOf" srcId="{2E707C44-CF68-4994-A735-59A6176153F9}" destId="{453A707D-2862-4860-AE7F-C144678E3551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8830A8-63B0-4425-8E88-DCAC88017899}">
      <dsp:nvSpPr>
        <dsp:cNvPr id="0" name=""/>
        <dsp:cNvSpPr/>
      </dsp:nvSpPr>
      <dsp:spPr>
        <a:xfrm>
          <a:off x="4234" y="30896"/>
          <a:ext cx="1925337" cy="276480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istematización de experiencias en los EE</a:t>
          </a:r>
          <a:endParaRPr lang="es-CO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234" y="30896"/>
        <a:ext cx="1925337" cy="770134"/>
      </dsp:txXfrm>
    </dsp:sp>
    <dsp:sp modelId="{21DDF8EF-F910-43E6-B24C-A4CACC431BAA}">
      <dsp:nvSpPr>
        <dsp:cNvPr id="0" name=""/>
        <dsp:cNvSpPr/>
      </dsp:nvSpPr>
      <dsp:spPr>
        <a:xfrm>
          <a:off x="418700" y="1284853"/>
          <a:ext cx="1925337" cy="21870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C8842D-5AA1-439E-AFBF-DFDFA0050213}">
      <dsp:nvSpPr>
        <dsp:cNvPr id="0" name=""/>
        <dsp:cNvSpPr/>
      </dsp:nvSpPr>
      <dsp:spPr>
        <a:xfrm rot="21575979">
          <a:off x="2221438" y="165359"/>
          <a:ext cx="618788" cy="4793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2000" kern="1200"/>
        </a:p>
      </dsp:txBody>
      <dsp:txXfrm>
        <a:off x="2221440" y="261732"/>
        <a:ext cx="474982" cy="287611"/>
      </dsp:txXfrm>
    </dsp:sp>
    <dsp:sp modelId="{5730E3E1-E938-4C09-9C00-C5638954F938}">
      <dsp:nvSpPr>
        <dsp:cNvPr id="0" name=""/>
        <dsp:cNvSpPr/>
      </dsp:nvSpPr>
      <dsp:spPr>
        <a:xfrm>
          <a:off x="3097068" y="9285"/>
          <a:ext cx="1925337" cy="276480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ocumento general de sistematización</a:t>
          </a:r>
          <a:endParaRPr lang="es-CO" sz="2000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097068" y="9285"/>
        <a:ext cx="1925337" cy="770134"/>
      </dsp:txXfrm>
    </dsp:sp>
    <dsp:sp modelId="{3CAD4B0C-C420-4E9D-AAB2-FC2C72B1C699}">
      <dsp:nvSpPr>
        <dsp:cNvPr id="0" name=""/>
        <dsp:cNvSpPr/>
      </dsp:nvSpPr>
      <dsp:spPr>
        <a:xfrm>
          <a:off x="3488257" y="1106145"/>
          <a:ext cx="1925337" cy="22734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AEACE5-588F-4D45-8DB3-E53684E802A3}">
      <dsp:nvSpPr>
        <dsp:cNvPr id="0" name=""/>
        <dsp:cNvSpPr/>
      </dsp:nvSpPr>
      <dsp:spPr>
        <a:xfrm rot="14372">
          <a:off x="5314277" y="161214"/>
          <a:ext cx="618778" cy="47935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2000" kern="1200"/>
        </a:p>
      </dsp:txBody>
      <dsp:txXfrm>
        <a:off x="5314278" y="256784"/>
        <a:ext cx="474972" cy="287611"/>
      </dsp:txXfrm>
    </dsp:sp>
    <dsp:sp modelId="{DEF84937-09EE-44E4-901A-6E2217D6CEEE}">
      <dsp:nvSpPr>
        <dsp:cNvPr id="0" name=""/>
        <dsp:cNvSpPr/>
      </dsp:nvSpPr>
      <dsp:spPr>
        <a:xfrm>
          <a:off x="6189902" y="22215"/>
          <a:ext cx="1925337" cy="276480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o Educativo Regional  en Barranquilla</a:t>
          </a:r>
        </a:p>
      </dsp:txBody>
      <dsp:txXfrm>
        <a:off x="6189902" y="22215"/>
        <a:ext cx="1925337" cy="770134"/>
      </dsp:txXfrm>
    </dsp:sp>
    <dsp:sp modelId="{5FE94CC9-829F-461D-BA7E-530929B85D6F}">
      <dsp:nvSpPr>
        <dsp:cNvPr id="0" name=""/>
        <dsp:cNvSpPr/>
      </dsp:nvSpPr>
      <dsp:spPr>
        <a:xfrm>
          <a:off x="6588483" y="1130964"/>
          <a:ext cx="1925337" cy="2221756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949C88-EFFE-4920-AC23-FB928939A07E}">
      <dsp:nvSpPr>
        <dsp:cNvPr id="0" name=""/>
        <dsp:cNvSpPr/>
      </dsp:nvSpPr>
      <dsp:spPr>
        <a:xfrm>
          <a:off x="4356947" y="363144"/>
          <a:ext cx="1283649" cy="690607"/>
        </a:xfrm>
        <a:prstGeom prst="rightArrow">
          <a:avLst>
            <a:gd name="adj1" fmla="val 75000"/>
            <a:gd name="adj2" fmla="val 5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72C17B3-A2E0-4AA5-9E74-D5EA6EC270D0}">
      <dsp:nvSpPr>
        <dsp:cNvPr id="0" name=""/>
        <dsp:cNvSpPr/>
      </dsp:nvSpPr>
      <dsp:spPr>
        <a:xfrm>
          <a:off x="0" y="36914"/>
          <a:ext cx="4354735" cy="1448203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chemeClr val="tx1"/>
              </a:solidFill>
            </a:rPr>
            <a:t>Conformación de </a:t>
          </a:r>
          <a:r>
            <a:rPr lang="es-CO" sz="1800" b="1" u="sng" kern="1200" dirty="0" smtClean="0">
              <a:solidFill>
                <a:srgbClr val="C00000"/>
              </a:solidFill>
            </a:rPr>
            <a:t>Comités de Formación Docente </a:t>
          </a:r>
          <a:r>
            <a:rPr lang="es-CO" sz="1600" b="1" kern="1200" dirty="0" smtClean="0">
              <a:solidFill>
                <a:schemeClr val="tx1"/>
              </a:solidFill>
            </a:rPr>
            <a:t>en cada E.E.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4000" b="1" kern="1200" dirty="0" smtClean="0">
              <a:solidFill>
                <a:srgbClr val="FF0000"/>
              </a:solidFill>
            </a:rPr>
            <a:t>3.894</a:t>
          </a:r>
          <a:r>
            <a:rPr lang="es-CO" sz="4000" b="1" kern="1200" dirty="0" smtClean="0">
              <a:solidFill>
                <a:schemeClr val="tx1"/>
              </a:solidFill>
            </a:rPr>
            <a:t> E.E</a:t>
          </a:r>
          <a:r>
            <a:rPr lang="es-CO" sz="1600" b="1" kern="1200" dirty="0" smtClean="0">
              <a:solidFill>
                <a:schemeClr val="tx1"/>
              </a:solidFill>
            </a:rPr>
            <a:t>. </a:t>
          </a:r>
          <a:endParaRPr lang="es-CO" sz="1600" b="1" kern="1200" dirty="0">
            <a:solidFill>
              <a:schemeClr val="tx1"/>
            </a:solidFill>
          </a:endParaRPr>
        </a:p>
      </dsp:txBody>
      <dsp:txXfrm>
        <a:off x="70695" y="107609"/>
        <a:ext cx="4213345" cy="1306813"/>
      </dsp:txXfrm>
    </dsp:sp>
    <dsp:sp modelId="{8C39813C-89BC-4ECA-8D62-B6582CE5AB4E}">
      <dsp:nvSpPr>
        <dsp:cNvPr id="0" name=""/>
        <dsp:cNvSpPr/>
      </dsp:nvSpPr>
      <dsp:spPr>
        <a:xfrm>
          <a:off x="4312919" y="1863967"/>
          <a:ext cx="1329890" cy="670062"/>
        </a:xfrm>
        <a:prstGeom prst="rightArrow">
          <a:avLst>
            <a:gd name="adj1" fmla="val 75000"/>
            <a:gd name="adj2" fmla="val 5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16CDC4F-3257-4218-83BD-8840C960287E}">
      <dsp:nvSpPr>
        <dsp:cNvPr id="0" name=""/>
        <dsp:cNvSpPr/>
      </dsp:nvSpPr>
      <dsp:spPr>
        <a:xfrm>
          <a:off x="2292" y="1589139"/>
          <a:ext cx="4308335" cy="130299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chemeClr val="tx1"/>
              </a:solidFill>
            </a:rPr>
            <a:t>Construcción  e implementación del</a:t>
          </a:r>
          <a:r>
            <a:rPr lang="es-CO" sz="1800" b="1" u="sng" kern="1200" dirty="0" smtClean="0">
              <a:solidFill>
                <a:schemeClr val="tx1"/>
              </a:solidFill>
            </a:rPr>
            <a:t> </a:t>
          </a:r>
          <a:r>
            <a:rPr lang="es-CO" sz="1800" b="1" u="sng" kern="1200" dirty="0" smtClean="0">
              <a:solidFill>
                <a:srgbClr val="C00000"/>
              </a:solidFill>
            </a:rPr>
            <a:t>Plan de Formación Autónoma </a:t>
          </a:r>
          <a:r>
            <a:rPr lang="es-CO" sz="1600" b="1" kern="1200" dirty="0" smtClean="0">
              <a:solidFill>
                <a:schemeClr val="tx1"/>
              </a:solidFill>
            </a:rPr>
            <a:t>en cada E.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4000" b="1" kern="1200" dirty="0" smtClean="0">
              <a:solidFill>
                <a:srgbClr val="FF0000"/>
              </a:solidFill>
            </a:rPr>
            <a:t>2.019</a:t>
          </a:r>
          <a:r>
            <a:rPr lang="es-CO" sz="4000" b="1" kern="1200" dirty="0" smtClean="0">
              <a:solidFill>
                <a:schemeClr val="tx1"/>
              </a:solidFill>
            </a:rPr>
            <a:t>  E.E</a:t>
          </a:r>
          <a:endParaRPr lang="es-CO" sz="4000" b="1" kern="1200" dirty="0">
            <a:solidFill>
              <a:schemeClr val="tx1"/>
            </a:solidFill>
          </a:endParaRPr>
        </a:p>
      </dsp:txBody>
      <dsp:txXfrm>
        <a:off x="65899" y="1652746"/>
        <a:ext cx="4181121" cy="1175776"/>
      </dsp:txXfrm>
    </dsp:sp>
    <dsp:sp modelId="{0A61AB9B-9DC9-46F9-A242-0F9DD8BE71A2}">
      <dsp:nvSpPr>
        <dsp:cNvPr id="0" name=""/>
        <dsp:cNvSpPr/>
      </dsp:nvSpPr>
      <dsp:spPr>
        <a:xfrm>
          <a:off x="4165101" y="3390212"/>
          <a:ext cx="1473381" cy="702617"/>
        </a:xfrm>
        <a:prstGeom prst="rightArrow">
          <a:avLst>
            <a:gd name="adj1" fmla="val 75000"/>
            <a:gd name="adj2" fmla="val 5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6589EC1-06AF-4766-859B-E06169878F00}">
      <dsp:nvSpPr>
        <dsp:cNvPr id="0" name=""/>
        <dsp:cNvSpPr/>
      </dsp:nvSpPr>
      <dsp:spPr>
        <a:xfrm>
          <a:off x="2" y="3010964"/>
          <a:ext cx="4160774" cy="1466238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chemeClr val="tx1"/>
              </a:solidFill>
            </a:rPr>
            <a:t>Evaluación y consolidación de la </a:t>
          </a:r>
          <a:r>
            <a:rPr lang="es-CO" sz="1600" b="1" u="sng" kern="1200" dirty="0" smtClean="0">
              <a:solidFill>
                <a:srgbClr val="C00000"/>
              </a:solidFill>
            </a:rPr>
            <a:t>carpeta guía </a:t>
          </a:r>
          <a:r>
            <a:rPr lang="es-CO" sz="1600" b="1" kern="1200" dirty="0" smtClean="0">
              <a:solidFill>
                <a:schemeClr val="tx1"/>
              </a:solidFill>
            </a:rPr>
            <a:t>para la elaboración de futuros planes de formación autónoma para cada E.E. y </a:t>
          </a:r>
          <a:r>
            <a:rPr lang="es-CO" sz="1600" b="1" kern="1200" dirty="0" smtClean="0">
              <a:solidFill>
                <a:srgbClr val="C00000"/>
              </a:solidFill>
            </a:rPr>
            <a:t>retroalimentación para el PMI y PEI </a:t>
          </a:r>
          <a:endParaRPr lang="es-CO" sz="1600" b="1" kern="1200" dirty="0">
            <a:solidFill>
              <a:srgbClr val="C00000"/>
            </a:solidFill>
          </a:endParaRPr>
        </a:p>
      </dsp:txBody>
      <dsp:txXfrm>
        <a:off x="71578" y="3082540"/>
        <a:ext cx="4017622" cy="13230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C4EEA-56F0-407B-8495-7BA2B7FECE09}">
      <dsp:nvSpPr>
        <dsp:cNvPr id="0" name=""/>
        <dsp:cNvSpPr/>
      </dsp:nvSpPr>
      <dsp:spPr>
        <a:xfrm>
          <a:off x="2444" y="488463"/>
          <a:ext cx="1938936" cy="1163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smtClean="0"/>
            <a:t>Organización para la Cooperación y el Desarrollo Económico- OCDE </a:t>
          </a:r>
          <a:endParaRPr lang="es-CO" sz="1800" b="1" kern="1200" dirty="0"/>
        </a:p>
      </dsp:txBody>
      <dsp:txXfrm>
        <a:off x="2444" y="488463"/>
        <a:ext cx="1938936" cy="1163361"/>
      </dsp:txXfrm>
    </dsp:sp>
    <dsp:sp modelId="{91A4381A-D0C0-4EC7-8A5C-C1DF560DDE60}">
      <dsp:nvSpPr>
        <dsp:cNvPr id="0" name=""/>
        <dsp:cNvSpPr/>
      </dsp:nvSpPr>
      <dsp:spPr>
        <a:xfrm>
          <a:off x="2135273" y="488463"/>
          <a:ext cx="1938936" cy="1163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Portafolio de Cooperación Sur- Sur</a:t>
          </a:r>
          <a:endParaRPr lang="es-CO" sz="1800" b="1" kern="1200" dirty="0"/>
        </a:p>
      </dsp:txBody>
      <dsp:txXfrm>
        <a:off x="2135273" y="488463"/>
        <a:ext cx="1938936" cy="1163361"/>
      </dsp:txXfrm>
    </dsp:sp>
    <dsp:sp modelId="{A8C07400-6D61-4D46-8846-101D4C5A990D}">
      <dsp:nvSpPr>
        <dsp:cNvPr id="0" name=""/>
        <dsp:cNvSpPr/>
      </dsp:nvSpPr>
      <dsp:spPr>
        <a:xfrm>
          <a:off x="4268103" y="488463"/>
          <a:ext cx="1938936" cy="1163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Banco mundial y BID</a:t>
          </a:r>
          <a:endParaRPr lang="es-CO" sz="1800" b="1" kern="1200" dirty="0"/>
        </a:p>
      </dsp:txBody>
      <dsp:txXfrm>
        <a:off x="4268103" y="488463"/>
        <a:ext cx="1938936" cy="1163361"/>
      </dsp:txXfrm>
    </dsp:sp>
    <dsp:sp modelId="{A9987473-18BA-4F9B-B1C5-10DEE89FAF17}">
      <dsp:nvSpPr>
        <dsp:cNvPr id="0" name=""/>
        <dsp:cNvSpPr/>
      </dsp:nvSpPr>
      <dsp:spPr>
        <a:xfrm>
          <a:off x="6400932" y="488463"/>
          <a:ext cx="1938936" cy="1163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smtClean="0"/>
            <a:t>Modelo de alianzas público privadas</a:t>
          </a:r>
          <a:endParaRPr lang="es-CO" sz="1800" b="1" kern="1200" dirty="0"/>
        </a:p>
      </dsp:txBody>
      <dsp:txXfrm>
        <a:off x="6400932" y="488463"/>
        <a:ext cx="1938936" cy="11633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99A439-301F-4926-ACA5-05C7871E3A91}">
      <dsp:nvSpPr>
        <dsp:cNvPr id="0" name=""/>
        <dsp:cNvSpPr/>
      </dsp:nvSpPr>
      <dsp:spPr>
        <a:xfrm>
          <a:off x="464" y="50985"/>
          <a:ext cx="1813086" cy="108785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UNESCO</a:t>
          </a:r>
        </a:p>
      </dsp:txBody>
      <dsp:txXfrm>
        <a:off x="464" y="50985"/>
        <a:ext cx="1813086" cy="1087852"/>
      </dsp:txXfrm>
    </dsp:sp>
    <dsp:sp modelId="{17397D23-EBF9-4913-AEDA-AC6C0854A617}">
      <dsp:nvSpPr>
        <dsp:cNvPr id="0" name=""/>
        <dsp:cNvSpPr/>
      </dsp:nvSpPr>
      <dsp:spPr>
        <a:xfrm>
          <a:off x="1994860" y="50985"/>
          <a:ext cx="1813086" cy="108785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smtClean="0"/>
            <a:t>Postobón</a:t>
          </a:r>
          <a:endParaRPr lang="es-CO" sz="1800" b="1" kern="1200" dirty="0" smtClean="0"/>
        </a:p>
      </dsp:txBody>
      <dsp:txXfrm>
        <a:off x="1994860" y="50985"/>
        <a:ext cx="1813086" cy="1087852"/>
      </dsp:txXfrm>
    </dsp:sp>
    <dsp:sp modelId="{F3BC6E0B-DF62-4093-A264-AA81C9B7900F}">
      <dsp:nvSpPr>
        <dsp:cNvPr id="0" name=""/>
        <dsp:cNvSpPr/>
      </dsp:nvSpPr>
      <dsp:spPr>
        <a:xfrm>
          <a:off x="887408" y="1320145"/>
          <a:ext cx="2033594" cy="108785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Computadores para Educar</a:t>
          </a:r>
        </a:p>
      </dsp:txBody>
      <dsp:txXfrm>
        <a:off x="887408" y="1320145"/>
        <a:ext cx="2033594" cy="108785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9E2E43-6AFD-44FD-A2A0-A9302B79A971}">
      <dsp:nvSpPr>
        <dsp:cNvPr id="0" name=""/>
        <dsp:cNvSpPr/>
      </dsp:nvSpPr>
      <dsp:spPr>
        <a:xfrm>
          <a:off x="534" y="104652"/>
          <a:ext cx="2085919" cy="12515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latin typeface="+mj-lt"/>
            </a:rPr>
            <a:t>UNICEF, Programa Mundial de Alimentos, Fundación </a:t>
          </a:r>
          <a:r>
            <a:rPr lang="es-CO" sz="1800" b="1" kern="1200" dirty="0" err="1" smtClean="0">
              <a:latin typeface="+mj-lt"/>
            </a:rPr>
            <a:t>Nutresa</a:t>
          </a:r>
          <a:endParaRPr lang="es-CO" sz="1800" b="1" kern="1200" dirty="0" smtClean="0">
            <a:latin typeface="+mj-lt"/>
          </a:endParaRPr>
        </a:p>
      </dsp:txBody>
      <dsp:txXfrm>
        <a:off x="534" y="104652"/>
        <a:ext cx="2085919" cy="1251551"/>
      </dsp:txXfrm>
    </dsp:sp>
    <dsp:sp modelId="{DF18DE6D-127A-4F8E-AA5A-0FD8E696D921}">
      <dsp:nvSpPr>
        <dsp:cNvPr id="0" name=""/>
        <dsp:cNvSpPr/>
      </dsp:nvSpPr>
      <dsp:spPr>
        <a:xfrm>
          <a:off x="2295045" y="104652"/>
          <a:ext cx="2085919" cy="12515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smtClean="0">
              <a:latin typeface="+mj-lt"/>
            </a:rPr>
            <a:t>LG</a:t>
          </a:r>
          <a:endParaRPr lang="es-CO" sz="1800" b="1" kern="1200">
            <a:latin typeface="+mj-lt"/>
          </a:endParaRPr>
        </a:p>
      </dsp:txBody>
      <dsp:txXfrm>
        <a:off x="2295045" y="104652"/>
        <a:ext cx="2085919" cy="1251551"/>
      </dsp:txXfrm>
    </dsp:sp>
    <dsp:sp modelId="{5D924EB4-C74E-4309-BB66-9EB373604DB1}">
      <dsp:nvSpPr>
        <dsp:cNvPr id="0" name=""/>
        <dsp:cNvSpPr/>
      </dsp:nvSpPr>
      <dsp:spPr>
        <a:xfrm>
          <a:off x="534" y="1564795"/>
          <a:ext cx="2085919" cy="12515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latin typeface="+mj-lt"/>
            </a:rPr>
            <a:t>DIRECTV</a:t>
          </a:r>
        </a:p>
      </dsp:txBody>
      <dsp:txXfrm>
        <a:off x="534" y="1564795"/>
        <a:ext cx="2085919" cy="1251551"/>
      </dsp:txXfrm>
    </dsp:sp>
    <dsp:sp modelId="{1325FC71-FEC6-4D4E-BFB5-1B07C2ADE981}">
      <dsp:nvSpPr>
        <dsp:cNvPr id="0" name=""/>
        <dsp:cNvSpPr/>
      </dsp:nvSpPr>
      <dsp:spPr>
        <a:xfrm>
          <a:off x="2295045" y="1564795"/>
          <a:ext cx="2085919" cy="12515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latin typeface="+mj-lt"/>
            </a:rPr>
            <a:t>Argos-Telefónica</a:t>
          </a:r>
        </a:p>
      </dsp:txBody>
      <dsp:txXfrm>
        <a:off x="2295045" y="1564795"/>
        <a:ext cx="2085919" cy="125155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36431A-0EE4-4BCD-96C4-DAD89C64BE85}">
      <dsp:nvSpPr>
        <dsp:cNvPr id="0" name=""/>
        <dsp:cNvSpPr/>
      </dsp:nvSpPr>
      <dsp:spPr>
        <a:xfrm>
          <a:off x="2461007" y="1286253"/>
          <a:ext cx="542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88294" y="45720"/>
              </a:lnTo>
              <a:lnTo>
                <a:pt x="288294" y="60230"/>
              </a:lnTo>
              <a:lnTo>
                <a:pt x="542388" y="6023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2717872" y="1329141"/>
        <a:ext cx="28658" cy="5664"/>
      </dsp:txXfrm>
    </dsp:sp>
    <dsp:sp modelId="{7601CB60-C6ED-4669-9E2B-4F166B394AEB}">
      <dsp:nvSpPr>
        <dsp:cNvPr id="0" name=""/>
        <dsp:cNvSpPr/>
      </dsp:nvSpPr>
      <dsp:spPr>
        <a:xfrm>
          <a:off x="0" y="593131"/>
          <a:ext cx="2462807" cy="1477684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Planeación</a:t>
          </a:r>
          <a:endParaRPr lang="es-CO" sz="1800" b="1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Viabilidad Financiera –(Julio 2014)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0" y="593131"/>
        <a:ext cx="2462807" cy="1477684"/>
      </dsp:txXfrm>
    </dsp:sp>
    <dsp:sp modelId="{294F2FC9-03D3-4A4D-BA0D-D566CEC38817}">
      <dsp:nvSpPr>
        <dsp:cNvPr id="0" name=""/>
        <dsp:cNvSpPr/>
      </dsp:nvSpPr>
      <dsp:spPr>
        <a:xfrm>
          <a:off x="5496803" y="1300764"/>
          <a:ext cx="53584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5845" y="45720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5750565" y="1343652"/>
        <a:ext cx="28322" cy="5664"/>
      </dsp:txXfrm>
    </dsp:sp>
    <dsp:sp modelId="{3C6C1BD4-1F36-4E77-BEE9-B5406433416F}">
      <dsp:nvSpPr>
        <dsp:cNvPr id="0" name=""/>
        <dsp:cNvSpPr/>
      </dsp:nvSpPr>
      <dsp:spPr>
        <a:xfrm>
          <a:off x="3035796" y="607642"/>
          <a:ext cx="2462807" cy="1477684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</a:t>
          </a:r>
          <a:endParaRPr lang="es-CO" sz="1800" b="1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Realizar </a:t>
          </a:r>
          <a:r>
            <a:rPr lang="es-CO" sz="1400" kern="1200" smtClean="0">
              <a:solidFill>
                <a:schemeClr val="tx1"/>
              </a:solidFill>
              <a:latin typeface="Century Gothic" panose="020B0502020202020204" pitchFamily="34" charset="0"/>
            </a:rPr>
            <a:t>estudio técnico (Julio – Agosto 2014)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3035796" y="607642"/>
        <a:ext cx="2462807" cy="1477684"/>
      </dsp:txXfrm>
    </dsp:sp>
    <dsp:sp modelId="{A9D9C5B0-74EE-4A06-AEBD-4400DA5F02A7}">
      <dsp:nvSpPr>
        <dsp:cNvPr id="0" name=""/>
        <dsp:cNvSpPr/>
      </dsp:nvSpPr>
      <dsp:spPr>
        <a:xfrm>
          <a:off x="1237946" y="2083527"/>
          <a:ext cx="6058507" cy="535845"/>
        </a:xfrm>
        <a:custGeom>
          <a:avLst/>
          <a:gdLst/>
          <a:ahLst/>
          <a:cxnLst/>
          <a:rect l="0" t="0" r="0" b="0"/>
          <a:pathLst>
            <a:path>
              <a:moveTo>
                <a:pt x="6058507" y="0"/>
              </a:moveTo>
              <a:lnTo>
                <a:pt x="6058507" y="285022"/>
              </a:lnTo>
              <a:lnTo>
                <a:pt x="0" y="285022"/>
              </a:lnTo>
              <a:lnTo>
                <a:pt x="0" y="535845"/>
              </a:lnTo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4115076" y="2348617"/>
        <a:ext cx="304246" cy="5664"/>
      </dsp:txXfrm>
    </dsp:sp>
    <dsp:sp modelId="{545629EF-2BF0-4EF9-9F02-2FD768F4B127}">
      <dsp:nvSpPr>
        <dsp:cNvPr id="0" name=""/>
        <dsp:cNvSpPr/>
      </dsp:nvSpPr>
      <dsp:spPr>
        <a:xfrm>
          <a:off x="6065049" y="607642"/>
          <a:ext cx="2462807" cy="1477684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Fortalecimiento</a:t>
          </a:r>
          <a:endParaRPr lang="es-CO" sz="1800" b="1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Expediciones de plantas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(Septiembre 2014)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6065049" y="607642"/>
        <a:ext cx="2462807" cy="1477684"/>
      </dsp:txXfrm>
    </dsp:sp>
    <dsp:sp modelId="{CB6ECB8D-B6A8-4A9A-8903-300CE3ED2561}">
      <dsp:nvSpPr>
        <dsp:cNvPr id="0" name=""/>
        <dsp:cNvSpPr/>
      </dsp:nvSpPr>
      <dsp:spPr>
        <a:xfrm>
          <a:off x="2467550" y="3344895"/>
          <a:ext cx="53584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5845" y="45720"/>
              </a:lnTo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2721312" y="3387783"/>
        <a:ext cx="28322" cy="5664"/>
      </dsp:txXfrm>
    </dsp:sp>
    <dsp:sp modelId="{298DB47E-31B5-4ACD-A81F-538B55E90792}">
      <dsp:nvSpPr>
        <dsp:cNvPr id="0" name=""/>
        <dsp:cNvSpPr/>
      </dsp:nvSpPr>
      <dsp:spPr>
        <a:xfrm>
          <a:off x="6542" y="2651772"/>
          <a:ext cx="2462807" cy="1477684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s</a:t>
          </a:r>
          <a:endParaRPr lang="es-CO" sz="1800" b="1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Adopta Planta  (octubre 2014) y expide actos administrativos (noviembre 2014)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6542" y="2651772"/>
        <a:ext cx="2462807" cy="1477684"/>
      </dsp:txXfrm>
    </dsp:sp>
    <dsp:sp modelId="{6389D564-21EF-4182-90D9-5E5977D6CE73}">
      <dsp:nvSpPr>
        <dsp:cNvPr id="0" name=""/>
        <dsp:cNvSpPr/>
      </dsp:nvSpPr>
      <dsp:spPr>
        <a:xfrm>
          <a:off x="5496803" y="3344895"/>
          <a:ext cx="53584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35845" y="45720"/>
              </a:lnTo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5750565" y="3387783"/>
        <a:ext cx="28322" cy="5664"/>
      </dsp:txXfrm>
    </dsp:sp>
    <dsp:sp modelId="{34E530BC-6600-4632-8E44-D29A6ECFDAAB}">
      <dsp:nvSpPr>
        <dsp:cNvPr id="0" name=""/>
        <dsp:cNvSpPr/>
      </dsp:nvSpPr>
      <dsp:spPr>
        <a:xfrm>
          <a:off x="3035796" y="2651772"/>
          <a:ext cx="2462807" cy="1477684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</a:t>
          </a:r>
          <a:endParaRPr lang="es-CO" sz="1800" b="1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Notifica a tutores  (Noviembre – Diciembre 2014)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3035796" y="2651772"/>
        <a:ext cx="2462807" cy="1477684"/>
      </dsp:txXfrm>
    </dsp:sp>
    <dsp:sp modelId="{453A707D-2862-4860-AE7F-C144678E3551}">
      <dsp:nvSpPr>
        <dsp:cNvPr id="0" name=""/>
        <dsp:cNvSpPr/>
      </dsp:nvSpPr>
      <dsp:spPr>
        <a:xfrm>
          <a:off x="6065049" y="2651772"/>
          <a:ext cx="2462807" cy="1477684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Secretaría</a:t>
          </a:r>
          <a:endParaRPr lang="es-CO" sz="1800" b="1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Reporta reemplazos a Fortalecimiento –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>
              <a:solidFill>
                <a:schemeClr val="tx1"/>
              </a:solidFill>
              <a:latin typeface="Century Gothic" panose="020B0502020202020204" pitchFamily="34" charset="0"/>
            </a:rPr>
            <a:t>(Enero 2015)</a:t>
          </a:r>
          <a:endParaRPr lang="es-CO" sz="1400" kern="1200" dirty="0">
            <a:solidFill>
              <a:schemeClr val="tx1"/>
            </a:solidFill>
            <a:latin typeface="Century Gothic" panose="020B0502020202020204" pitchFamily="34" charset="0"/>
          </a:endParaRPr>
        </a:p>
      </dsp:txBody>
      <dsp:txXfrm>
        <a:off x="6065049" y="2651772"/>
        <a:ext cx="2462807" cy="14776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8DA1A6-FFD2-4482-8198-3FB3CA98D877}" type="datetimeFigureOut">
              <a:rPr lang="es-CO" smtClean="0"/>
              <a:t>11/07/2014</a:t>
            </a:fld>
            <a:endParaRPr lang="es-CO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C0B5BF-2F7E-40D9-A511-16CB4FC4DBAE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41082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3FA6EB-FFE5-4547-8C81-B41F36A6E15D}" type="slidenum">
              <a:rPr lang="es-CO" smtClean="0"/>
              <a:t>1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4123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0C4E40-4384-4C4A-9307-B7E49025804F}" type="slidenum">
              <a:rPr lang="es-CO" smtClean="0"/>
              <a:t>26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54207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4EEE1-852D-A34E-8B79-FECEB6EE8DD0}" type="datetimeFigureOut">
              <a:rPr lang="es-ES" smtClean="0"/>
              <a:t>11/07/201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54753-3CDB-9741-A0F7-4A4C4C8C6DC0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 descr="PPT_PTA-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121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4EEE1-852D-A34E-8B79-FECEB6EE8DD0}" type="datetimeFigureOut">
              <a:rPr lang="es-ES" smtClean="0"/>
              <a:t>11/07/201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54753-3CDB-9741-A0F7-4A4C4C8C6DC0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 descr="PPT_PTA-0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476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84971"/>
            <a:ext cx="765860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7696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F4EEE1-852D-A34E-8B79-FECEB6EE8DD0}" type="datetimeFigureOut">
              <a:rPr lang="es-ES" smtClean="0"/>
              <a:t>11/07/201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554753-3CDB-9741-A0F7-4A4C4C8C6DC0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 descr="PPT_PTA-01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311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image" Target="../media/image29.jpe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tags" Target="../tags/tag64.xml"/><Relationship Id="rId16" Type="http://schemas.openxmlformats.org/officeDocument/2006/relationships/image" Target="../media/image32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27.png"/><Relationship Id="rId5" Type="http://schemas.openxmlformats.org/officeDocument/2006/relationships/tags" Target="../tags/tag67.xml"/><Relationship Id="rId15" Type="http://schemas.openxmlformats.org/officeDocument/2006/relationships/image" Target="../media/image31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2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openxmlformats.org/officeDocument/2006/relationships/slideLayout" Target="../slideLayouts/slideLayout1.xml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tags" Target="../tags/tag74.xml"/><Relationship Id="rId16" Type="http://schemas.openxmlformats.org/officeDocument/2006/relationships/diagramQuickStyle" Target="../diagrams/quickStyle5.xml"/><Relationship Id="rId1" Type="http://schemas.openxmlformats.org/officeDocument/2006/relationships/tags" Target="../tags/tag73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6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7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8.xml"/><Relationship Id="rId4" Type="http://schemas.openxmlformats.org/officeDocument/2006/relationships/image" Target="../media/image43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image" Target="../media/image48.jpg"/><Relationship Id="rId2" Type="http://schemas.openxmlformats.org/officeDocument/2006/relationships/tags" Target="../tags/tag80.xml"/><Relationship Id="rId16" Type="http://schemas.openxmlformats.org/officeDocument/2006/relationships/image" Target="../media/image47.jpe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3" Type="http://schemas.openxmlformats.org/officeDocument/2006/relationships/tags" Target="../tags/tag95.xml"/><Relationship Id="rId7" Type="http://schemas.openxmlformats.org/officeDocument/2006/relationships/image" Target="../media/image50.jp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9.jpeg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10" Type="http://schemas.openxmlformats.org/officeDocument/2006/relationships/tags" Target="../tags/tag105.xml"/><Relationship Id="rId19" Type="http://schemas.openxmlformats.org/officeDocument/2006/relationships/image" Target="../media/image28.png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hyperlink" Target="http://www.google.com.co/url?sa=i&amp;rct=j&amp;q=&amp;esrc=s&amp;source=images&amp;cd=&amp;cad=rja&amp;uact=8&amp;docid=fYMDf3sZdslyLM&amp;tbnid=XFTB2T0Clns39M:&amp;ved=0CAUQjRw&amp;url=http://www.mineducacion.gov.co/todosaaprender/&amp;ei=hhisU6vPOdPhsATkyIGwCg&amp;bvm=bv.69837884,d.cWc&amp;psig=AFQjCNEZrVZKEVW75DB14YavEHbolyltww&amp;ust=1403873787569646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hyperlink" Target="3%20SOACHA%20URUGUAY%20UNESCO-Pres%20Min..mp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image" Target="../media/image10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image" Target="../media/image9.png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image" Target="../media/image8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7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11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13.png"/><Relationship Id="rId2" Type="http://schemas.openxmlformats.org/officeDocument/2006/relationships/tags" Target="../tags/tag32.xml"/><Relationship Id="rId16" Type="http://schemas.openxmlformats.org/officeDocument/2006/relationships/hyperlink" Target="Presentaci&#243;n%20Pedag&#243;gico%20junio%202014/Encuesta%20Componente%20Pedag&#243;gico%20-%20Evaluaci&#243;n.pdf" TargetMode="Externa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image" Target="../media/image12.png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hyperlink" Target="Presentaci&#243;n%20Pedag&#243;gico%20junio%202014/Encuesta%20Componente%20Pedag&#243;gico%20-%20Materiales.pdf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hyperlink" Target="Presentaci&#243;n%20Pedag&#243;gico%20junio%202014/Encuesta%20Componente%20Pedag&#243;gico%20-%20Materiales.pdf" TargetMode="Externa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presentacion%20FS%20Ministra%2026062014/CONSOLIDACI&#211;N%20CDA/SOPORTES%20CDA/CREO,%20RECREO%20Y%20EXPRESO%20MI%20MUNDO%20LITERARIO.pdf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9.png"/><Relationship Id="rId5" Type="http://schemas.openxmlformats.org/officeDocument/2006/relationships/diagramQuickStyle" Target="../diagrams/quickStyle1.xml"/><Relationship Id="rId10" Type="http://schemas.openxmlformats.org/officeDocument/2006/relationships/hyperlink" Target="presentacion%20FS%20Ministra%2026062014/CONSOLIDACI&#211;N%20CDA/DOCUMENTO%20-%20SOCIALIZACI&#211;N%20DE%20EXPERIENCIAS%20INSPIRADORAS%20V4.pdf" TargetMode="External"/><Relationship Id="rId4" Type="http://schemas.openxmlformats.org/officeDocument/2006/relationships/diagramLayout" Target="../diagrams/layout1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hyperlink" Target="presentacion%20FS%20Ministra%2026062014/Nueva%20carpeta/IE%20Neira%20Plan%20Autoformacion.pdf" TargetMode="External"/><Relationship Id="rId3" Type="http://schemas.openxmlformats.org/officeDocument/2006/relationships/hyperlink" Target="ACTA%20CONFORMACI&#211;N%20COMITE%20DE%20FORMACI&#211;N%20AUT&#211;NOMA..pdf" TargetMode="External"/><Relationship Id="rId7" Type="http://schemas.openxmlformats.org/officeDocument/2006/relationships/diagramLayout" Target="../diagrams/layout2.xml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1.xml"/><Relationship Id="rId16" Type="http://schemas.openxmlformats.org/officeDocument/2006/relationships/hyperlink" Target="Nueva%20carpeta/IE%20Pio%20XII%20Plan%20Autoformacion.pdf" TargetMode="External"/><Relationship Id="rId1" Type="http://schemas.openxmlformats.org/officeDocument/2006/relationships/tags" Target="../tags/tag54.xml"/><Relationship Id="rId6" Type="http://schemas.openxmlformats.org/officeDocument/2006/relationships/diagramData" Target="../diagrams/data2.xml"/><Relationship Id="rId11" Type="http://schemas.openxmlformats.org/officeDocument/2006/relationships/hyperlink" Target="presentacion%20FS%20Ministra%2026062014/Nueva%20carpeta/ACTA%20CONFORMACI&#211;N%20COMITE%20DE%20FORMACI&#211;N%20AUT&#211;NOMA..pdf" TargetMode="External"/><Relationship Id="rId5" Type="http://schemas.openxmlformats.org/officeDocument/2006/relationships/hyperlink" Target="SEGUIMIENTO%20A%20PLANES%20DE%20FORMACION%20AUTONOMA/IE%20Pio%20XII%20Plan%20Autoformacion.doc" TargetMode="External"/><Relationship Id="rId15" Type="http://schemas.openxmlformats.org/officeDocument/2006/relationships/hyperlink" Target="presentacion%20FS%20Ministra%2026062014/Nueva%20carpeta/Resolucion%20rectoral%20de%20conformacion%20del%20CFA.pdf" TargetMode="External"/><Relationship Id="rId10" Type="http://schemas.microsoft.com/office/2007/relationships/diagramDrawing" Target="../diagrams/drawing2.xml"/><Relationship Id="rId4" Type="http://schemas.openxmlformats.org/officeDocument/2006/relationships/hyperlink" Target="IE%20Neira%20Plan%20Autoformacion.pdf" TargetMode="External"/><Relationship Id="rId9" Type="http://schemas.openxmlformats.org/officeDocument/2006/relationships/diagramColors" Target="../diagrams/colors2.xml"/><Relationship Id="rId1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25.png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24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3.png"/><Relationship Id="rId5" Type="http://schemas.openxmlformats.org/officeDocument/2006/relationships/tags" Target="../tags/tag59.xml"/><Relationship Id="rId10" Type="http://schemas.openxmlformats.org/officeDocument/2006/relationships/image" Target="../media/image22.png"/><Relationship Id="rId4" Type="http://schemas.openxmlformats.org/officeDocument/2006/relationships/tags" Target="../tags/tag58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817418" y="3477491"/>
            <a:ext cx="613756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6000" b="1" dirty="0" smtClean="0">
                <a:solidFill>
                  <a:schemeClr val="bg1"/>
                </a:solidFill>
              </a:rPr>
              <a:t>Todos a Aprender </a:t>
            </a:r>
          </a:p>
          <a:p>
            <a:pPr algn="ctr"/>
            <a:r>
              <a:rPr lang="es-CO" sz="2200" b="1" dirty="0" smtClean="0">
                <a:solidFill>
                  <a:schemeClr val="bg1"/>
                </a:solidFill>
              </a:rPr>
              <a:t>Encuentro de Secretarios -  Julio 2014</a:t>
            </a:r>
          </a:p>
          <a:p>
            <a:pPr algn="ctr"/>
            <a:r>
              <a:rPr lang="es-CO" sz="2200" b="1" dirty="0" smtClean="0">
                <a:solidFill>
                  <a:schemeClr val="bg1"/>
                </a:solidFill>
              </a:rPr>
              <a:t>Ampliación a básica Secundaria</a:t>
            </a:r>
          </a:p>
          <a:p>
            <a:pPr algn="ctr"/>
            <a:r>
              <a:rPr lang="es-CO" b="1" i="1" dirty="0" err="1" smtClean="0">
                <a:solidFill>
                  <a:schemeClr val="bg1"/>
                </a:solidFill>
              </a:rPr>
              <a:t>Yinna</a:t>
            </a:r>
            <a:r>
              <a:rPr lang="es-CO" b="1" i="1" dirty="0" smtClean="0">
                <a:solidFill>
                  <a:schemeClr val="bg1"/>
                </a:solidFill>
              </a:rPr>
              <a:t> Paola Higuera Bernal</a:t>
            </a:r>
            <a:endParaRPr lang="es-CO" b="1" i="1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140" y="571934"/>
            <a:ext cx="8517515" cy="2240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6770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4"/>
          <p:cNvSpPr/>
          <p:nvPr>
            <p:custDataLst>
              <p:tags r:id="rId1"/>
            </p:custDataLst>
          </p:nvPr>
        </p:nvSpPr>
        <p:spPr>
          <a:xfrm>
            <a:off x="4257675" y="1885951"/>
            <a:ext cx="3971926" cy="22161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7" name="Oval 20"/>
          <p:cNvSpPr/>
          <p:nvPr>
            <p:custDataLst>
              <p:tags r:id="rId2"/>
            </p:custDataLst>
          </p:nvPr>
        </p:nvSpPr>
        <p:spPr>
          <a:xfrm>
            <a:off x="771525" y="1790700"/>
            <a:ext cx="2800350" cy="2800350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pic>
        <p:nvPicPr>
          <p:cNvPr id="9" name="Picture 3" descr="C:\Users\sebastian angarita\Desktop\H-E-T\Images\Business\Stuff\Magnifying Glass2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376" y="3744824"/>
            <a:ext cx="1096962" cy="1096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30"/>
          <p:cNvCxnSpPr/>
          <p:nvPr>
            <p:custDataLst>
              <p:tags r:id="rId4"/>
            </p:custDataLst>
          </p:nvPr>
        </p:nvCxnSpPr>
        <p:spPr>
          <a:xfrm flipH="1">
            <a:off x="571500" y="1619250"/>
            <a:ext cx="7658101" cy="0"/>
          </a:xfrm>
          <a:prstGeom prst="line">
            <a:avLst/>
          </a:prstGeom>
          <a:ln w="635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6" descr="http://www.forempv.ccoo.es/ficheros/imagenes/comillas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752475" y="4841027"/>
            <a:ext cx="669687" cy="525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29"/>
          <p:cNvSpPr txBox="1"/>
          <p:nvPr/>
        </p:nvSpPr>
        <p:spPr>
          <a:xfrm>
            <a:off x="5036492" y="1907874"/>
            <a:ext cx="312149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5600" b="1" dirty="0" smtClean="0">
                <a:solidFill>
                  <a:srgbClr val="FF0000"/>
                </a:solidFill>
                <a:latin typeface="Arial Narrow" pitchFamily="34" charset="0"/>
              </a:rPr>
              <a:t>81</a:t>
            </a:r>
            <a:r>
              <a:rPr lang="es-CO" sz="5600" b="1" dirty="0" smtClean="0">
                <a:latin typeface="Arial Narrow" pitchFamily="34" charset="0"/>
                <a:sym typeface="Wingdings" panose="05000000000000000000" pitchFamily="2" charset="2"/>
              </a:rPr>
              <a:t>100%</a:t>
            </a:r>
            <a:endParaRPr lang="es-CO" sz="5600" dirty="0"/>
          </a:p>
        </p:txBody>
      </p:sp>
      <p:sp>
        <p:nvSpPr>
          <p:cNvPr id="13" name="Rectangle 29"/>
          <p:cNvSpPr txBox="1"/>
          <p:nvPr/>
        </p:nvSpPr>
        <p:spPr>
          <a:xfrm>
            <a:off x="4443931" y="2687916"/>
            <a:ext cx="389866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>
                <a:solidFill>
                  <a:schemeClr val="tx1"/>
                </a:solidFill>
              </a:rPr>
              <a:t>Secretarios de Educación </a:t>
            </a:r>
          </a:p>
          <a:p>
            <a:r>
              <a:rPr lang="es-CO" sz="2000" dirty="0">
                <a:solidFill>
                  <a:schemeClr val="tx1"/>
                </a:solidFill>
              </a:rPr>
              <a:t>pactan  por la Gestión de la Calidad Educativa a través de la firma de </a:t>
            </a:r>
            <a:r>
              <a:rPr lang="es-CO" sz="2000" dirty="0" smtClean="0">
                <a:solidFill>
                  <a:schemeClr val="tx1"/>
                </a:solidFill>
              </a:rPr>
              <a:t>compromisos</a:t>
            </a:r>
            <a:endParaRPr lang="es-CO" sz="2000" dirty="0">
              <a:solidFill>
                <a:schemeClr val="tx1"/>
              </a:solidFill>
            </a:endParaRPr>
          </a:p>
        </p:txBody>
      </p:sp>
      <p:sp>
        <p:nvSpPr>
          <p:cNvPr id="14" name="Rectangle 29"/>
          <p:cNvSpPr txBox="1"/>
          <p:nvPr>
            <p:custDataLst>
              <p:tags r:id="rId6"/>
            </p:custDataLst>
          </p:nvPr>
        </p:nvSpPr>
        <p:spPr>
          <a:xfrm>
            <a:off x="5789656" y="4543287"/>
            <a:ext cx="3214612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es-CO" altLang="es-CO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7</a:t>
            </a:r>
            <a:r>
              <a:rPr lang="es-CO" altLang="es-CO" sz="2400" b="1" dirty="0"/>
              <a:t> PAM </a:t>
            </a:r>
            <a:r>
              <a:rPr lang="es-CO" altLang="es-CO" sz="2000" dirty="0"/>
              <a:t>articulados con las estrategias del PTA</a:t>
            </a:r>
          </a:p>
        </p:txBody>
      </p:sp>
      <p:cxnSp>
        <p:nvCxnSpPr>
          <p:cNvPr id="16" name="Straight Connector 29"/>
          <p:cNvCxnSpPr/>
          <p:nvPr/>
        </p:nvCxnSpPr>
        <p:spPr>
          <a:xfrm>
            <a:off x="3450980" y="5808578"/>
            <a:ext cx="35670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9"/>
          <p:cNvSpPr txBox="1"/>
          <p:nvPr>
            <p:custDataLst>
              <p:tags r:id="rId7"/>
            </p:custDataLst>
          </p:nvPr>
        </p:nvSpPr>
        <p:spPr>
          <a:xfrm>
            <a:off x="1712750" y="4793066"/>
            <a:ext cx="143304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4000" b="1" dirty="0" smtClean="0">
                <a:solidFill>
                  <a:srgbClr val="FF0000"/>
                </a:solidFill>
                <a:latin typeface="Arial Narrow" pitchFamily="34" charset="0"/>
              </a:rPr>
              <a:t>3,500</a:t>
            </a:r>
            <a:endParaRPr lang="es-CO" sz="4000" dirty="0">
              <a:solidFill>
                <a:srgbClr val="FF0000"/>
              </a:solidFill>
            </a:endParaRPr>
          </a:p>
        </p:txBody>
      </p:sp>
      <p:sp>
        <p:nvSpPr>
          <p:cNvPr id="18" name="Rectangle 29"/>
          <p:cNvSpPr txBox="1"/>
          <p:nvPr/>
        </p:nvSpPr>
        <p:spPr>
          <a:xfrm>
            <a:off x="1450684" y="5408619"/>
            <a:ext cx="254806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b="1" dirty="0">
                <a:solidFill>
                  <a:schemeClr val="tx1"/>
                </a:solidFill>
              </a:rPr>
              <a:t>Rectores </a:t>
            </a:r>
            <a:r>
              <a:rPr lang="es-CO" dirty="0">
                <a:solidFill>
                  <a:schemeClr val="tx1"/>
                </a:solidFill>
              </a:rPr>
              <a:t>se han comprometido con  la calidad educativa del país</a:t>
            </a:r>
          </a:p>
        </p:txBody>
      </p:sp>
      <p:pic>
        <p:nvPicPr>
          <p:cNvPr id="20" name="Picture 6" descr="http://www.forempv.ccoo.es/ficheros/imagenes/comilla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752475" y="4841027"/>
            <a:ext cx="669687" cy="525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ight Arrow 2"/>
          <p:cNvSpPr/>
          <p:nvPr/>
        </p:nvSpPr>
        <p:spPr>
          <a:xfrm rot="18869015">
            <a:off x="4144734" y="4644804"/>
            <a:ext cx="1783519" cy="918149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78000">
                <a:schemeClr val="accent1">
                  <a:shade val="100000"/>
                  <a:satMod val="115000"/>
                  <a:alpha val="0"/>
                </a:schemeClr>
              </a:gs>
            </a:gsLst>
            <a:lin ang="960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  <p:sp>
        <p:nvSpPr>
          <p:cNvPr id="22" name="21 Rectángulo redondeado"/>
          <p:cNvSpPr/>
          <p:nvPr/>
        </p:nvSpPr>
        <p:spPr bwMode="auto">
          <a:xfrm>
            <a:off x="7321835" y="1210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398035" y="1210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24" name="23 Elipse"/>
          <p:cNvSpPr/>
          <p:nvPr/>
        </p:nvSpPr>
        <p:spPr>
          <a:xfrm>
            <a:off x="990838" y="2006600"/>
            <a:ext cx="2387362" cy="2416174"/>
          </a:xfrm>
          <a:prstGeom prst="ellipse">
            <a:avLst/>
          </a:prstGeom>
          <a:blipFill rotWithShape="1">
            <a:blip r:embed="rId13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0838" y="698633"/>
            <a:ext cx="146050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1494" y="573220"/>
            <a:ext cx="147955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301" y="617670"/>
            <a:ext cx="1389063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82" y="382665"/>
            <a:ext cx="1616075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1568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6 Grupo"/>
          <p:cNvGrpSpPr>
            <a:grpSpLocks/>
          </p:cNvGrpSpPr>
          <p:nvPr/>
        </p:nvGrpSpPr>
        <p:grpSpPr bwMode="auto">
          <a:xfrm>
            <a:off x="623888" y="4591050"/>
            <a:ext cx="3087687" cy="1454150"/>
            <a:chOff x="611763" y="4702338"/>
            <a:chExt cx="3476175" cy="1637279"/>
          </a:xfrm>
        </p:grpSpPr>
        <p:pic>
          <p:nvPicPr>
            <p:cNvPr id="20" name="4 Marcador de contenido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0286687">
              <a:off x="611763" y="4816733"/>
              <a:ext cx="1914130" cy="152288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" name="2 Imagen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923678">
              <a:off x="2125552" y="4702338"/>
              <a:ext cx="1962386" cy="147104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19459" name="26 Grupo"/>
          <p:cNvGrpSpPr>
            <a:grpSpLocks/>
          </p:cNvGrpSpPr>
          <p:nvPr/>
        </p:nvGrpSpPr>
        <p:grpSpPr bwMode="auto">
          <a:xfrm>
            <a:off x="286717" y="1418811"/>
            <a:ext cx="8707431" cy="3152604"/>
            <a:chOff x="230797" y="2208141"/>
            <a:chExt cx="8809605" cy="2317257"/>
          </a:xfrm>
        </p:grpSpPr>
        <p:sp>
          <p:nvSpPr>
            <p:cNvPr id="12" name="11 CuadroTexto"/>
            <p:cNvSpPr txBox="1"/>
            <p:nvPr/>
          </p:nvSpPr>
          <p:spPr>
            <a:xfrm>
              <a:off x="899575" y="2349251"/>
              <a:ext cx="2664566" cy="746542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2400" b="1" dirty="0" smtClean="0">
                  <a:solidFill>
                    <a:schemeClr val="tx1"/>
                  </a:solidFill>
                </a:rPr>
                <a:t>Componente cualitativo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12 CuadroTexto"/>
            <p:cNvSpPr txBox="1"/>
            <p:nvPr/>
          </p:nvSpPr>
          <p:spPr>
            <a:xfrm>
              <a:off x="5467402" y="2349251"/>
              <a:ext cx="2664566" cy="746542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2400" b="1" dirty="0" smtClean="0">
                  <a:solidFill>
                    <a:schemeClr val="tx1"/>
                  </a:solidFill>
                </a:rPr>
                <a:t>Componente Cuantitativo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3 CuadroTexto"/>
            <p:cNvSpPr txBox="1">
              <a:spLocks noChangeArrowheads="1"/>
            </p:cNvSpPr>
            <p:nvPr/>
          </p:nvSpPr>
          <p:spPr bwMode="auto">
            <a:xfrm>
              <a:off x="263548" y="3544087"/>
              <a:ext cx="3833347" cy="981311"/>
            </a:xfrm>
            <a:prstGeom prst="rect">
              <a:avLst/>
            </a:prstGeom>
            <a:noFill/>
            <a:ln>
              <a:noFill/>
              <a:headEnd/>
              <a:tailEnd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altLang="es-CO" sz="2000" b="1" dirty="0" smtClean="0"/>
                <a:t>Percepción de los actores sobre el impacto del programa y sus procesos</a:t>
              </a:r>
              <a:endParaRPr lang="es-CO" altLang="es-CO" sz="2000" b="1" dirty="0"/>
            </a:p>
          </p:txBody>
        </p:sp>
        <p:sp>
          <p:nvSpPr>
            <p:cNvPr id="15" name="8 CuadroTexto"/>
            <p:cNvSpPr txBox="1">
              <a:spLocks noChangeArrowheads="1"/>
            </p:cNvSpPr>
            <p:nvPr/>
          </p:nvSpPr>
          <p:spPr bwMode="auto">
            <a:xfrm>
              <a:off x="7894260" y="2208141"/>
              <a:ext cx="1146142" cy="316715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altLang="es-CO" sz="2200" b="1" dirty="0">
                  <a:solidFill>
                    <a:srgbClr val="FF0000"/>
                  </a:solidFill>
                </a:rPr>
                <a:t>400 EE</a:t>
              </a:r>
            </a:p>
          </p:txBody>
        </p:sp>
        <p:sp>
          <p:nvSpPr>
            <p:cNvPr id="18" name="25 Rectángulo"/>
            <p:cNvSpPr>
              <a:spLocks noChangeArrowheads="1"/>
            </p:cNvSpPr>
            <p:nvPr/>
          </p:nvSpPr>
          <p:spPr bwMode="auto">
            <a:xfrm>
              <a:off x="230797" y="2208141"/>
              <a:ext cx="760955" cy="294093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>
              <a:lvl1pPr defTabSz="4572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altLang="es-CO" sz="2000" b="1" dirty="0">
                  <a:solidFill>
                    <a:srgbClr val="FF0000"/>
                  </a:solidFill>
                </a:rPr>
                <a:t>30 EE</a:t>
              </a:r>
            </a:p>
          </p:txBody>
        </p:sp>
      </p:grpSp>
      <p:sp>
        <p:nvSpPr>
          <p:cNvPr id="19460" name="1 Título"/>
          <p:cNvSpPr txBox="1">
            <a:spLocks/>
          </p:cNvSpPr>
          <p:nvPr/>
        </p:nvSpPr>
        <p:spPr bwMode="auto">
          <a:xfrm>
            <a:off x="0" y="404813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_tradnl" altLang="es-CO" sz="2400" b="1" dirty="0">
                <a:solidFill>
                  <a:srgbClr val="C00000"/>
                </a:solidFill>
                <a:latin typeface="Arial" pitchFamily="34" charset="0"/>
                <a:ea typeface="MS PGothic" pitchFamily="34" charset="-128"/>
              </a:rPr>
              <a:t>A. </a:t>
            </a:r>
            <a:r>
              <a:rPr lang="es-ES_tradnl" altLang="es-CO" sz="2400" b="1" dirty="0" smtClean="0">
                <a:solidFill>
                  <a:srgbClr val="C00000"/>
                </a:solidFill>
                <a:latin typeface="Arial" pitchFamily="34" charset="0"/>
                <a:ea typeface="MS PGothic" pitchFamily="34" charset="-128"/>
              </a:rPr>
              <a:t>Implementación </a:t>
            </a:r>
            <a:r>
              <a:rPr lang="es-ES_tradnl" altLang="es-CO" sz="2400" b="1" dirty="0">
                <a:solidFill>
                  <a:srgbClr val="C00000"/>
                </a:solidFill>
                <a:latin typeface="Arial" pitchFamily="34" charset="0"/>
                <a:ea typeface="MS PGothic" pitchFamily="34" charset="-128"/>
              </a:rPr>
              <a:t>Evaluación de Impacto PTA</a:t>
            </a:r>
            <a:endParaRPr lang="es-CO" altLang="es-CO" sz="2400" dirty="0">
              <a:solidFill>
                <a:srgbClr val="C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9461" name="5 Rectángulo"/>
          <p:cNvSpPr>
            <a:spLocks noChangeArrowheads="1"/>
          </p:cNvSpPr>
          <p:nvPr/>
        </p:nvSpPr>
        <p:spPr bwMode="auto">
          <a:xfrm>
            <a:off x="4302125" y="3041818"/>
            <a:ext cx="522287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O" altLang="es-CO" sz="2000" b="1" dirty="0" smtClean="0"/>
              <a:t>Medir el impacto (causal) de PTA en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O" altLang="es-CO" sz="2000" b="1" dirty="0" smtClean="0"/>
              <a:t>deserción, </a:t>
            </a:r>
            <a:r>
              <a:rPr lang="es-CO" altLang="es-CO" sz="2000" b="1" dirty="0" err="1" smtClean="0"/>
              <a:t>repitencia</a:t>
            </a:r>
            <a:r>
              <a:rPr lang="es-CO" altLang="es-CO" sz="2000" b="1" dirty="0" smtClean="0"/>
              <a:t>, saber, prácticas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O" altLang="es-CO" sz="2000" b="1" dirty="0" smtClean="0"/>
              <a:t>pedagógicas y de gestión.</a:t>
            </a:r>
            <a:endParaRPr lang="es-CO" altLang="es-CO" sz="2000" b="1" dirty="0"/>
          </a:p>
        </p:txBody>
      </p:sp>
      <p:grpSp>
        <p:nvGrpSpPr>
          <p:cNvPr id="19462" name="25 Grupo"/>
          <p:cNvGrpSpPr>
            <a:grpSpLocks/>
          </p:cNvGrpSpPr>
          <p:nvPr/>
        </p:nvGrpSpPr>
        <p:grpSpPr bwMode="auto">
          <a:xfrm>
            <a:off x="5322888" y="4727575"/>
            <a:ext cx="3135312" cy="1282700"/>
            <a:chOff x="5190902" y="4719149"/>
            <a:chExt cx="3579616" cy="1464201"/>
          </a:xfrm>
        </p:grpSpPr>
        <p:pic>
          <p:nvPicPr>
            <p:cNvPr id="5" name="4 Imagen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779627">
              <a:off x="7017866" y="4719149"/>
              <a:ext cx="1752652" cy="146420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24" name="23 Imagen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0589299">
              <a:off x="5190902" y="4742707"/>
              <a:ext cx="1756277" cy="129748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sp>
        <p:nvSpPr>
          <p:cNvPr id="19463" name="24 Rectángulo"/>
          <p:cNvSpPr>
            <a:spLocks noChangeArrowheads="1"/>
          </p:cNvSpPr>
          <p:nvPr/>
        </p:nvSpPr>
        <p:spPr bwMode="auto">
          <a:xfrm>
            <a:off x="2009775" y="5997158"/>
            <a:ext cx="49037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CO" altLang="es-CO" sz="1800" b="1">
                <a:solidFill>
                  <a:srgbClr val="000000"/>
                </a:solidFill>
              </a:rPr>
              <a:t>Estudiantes – Docentes – Rectores- Tutores</a:t>
            </a:r>
          </a:p>
        </p:txBody>
      </p:sp>
      <p:sp>
        <p:nvSpPr>
          <p:cNvPr id="17" name="16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9112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2545841256"/>
              </p:ext>
            </p:extLst>
          </p:nvPr>
        </p:nvGraphicFramePr>
        <p:xfrm>
          <a:off x="502442" y="4411438"/>
          <a:ext cx="8342313" cy="2140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149350" y="878359"/>
            <a:ext cx="583979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Alianzas públicos- privadas</a:t>
            </a:r>
            <a:endParaRPr lang="es-CO" sz="2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1091864835"/>
              </p:ext>
            </p:extLst>
          </p:nvPr>
        </p:nvGraphicFramePr>
        <p:xfrm>
          <a:off x="5143500" y="1952455"/>
          <a:ext cx="3808412" cy="2458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9" name="8 Diagrama"/>
          <p:cNvGraphicFramePr/>
          <p:nvPr>
            <p:extLst>
              <p:ext uri="{D42A27DB-BD31-4B8C-83A1-F6EECF244321}">
                <p14:modId xmlns:p14="http://schemas.microsoft.com/office/powerpoint/2010/main" val="2102063078"/>
              </p:ext>
            </p:extLst>
          </p:nvPr>
        </p:nvGraphicFramePr>
        <p:xfrm>
          <a:off x="355600" y="1676400"/>
          <a:ext cx="4381500" cy="292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0" name="9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999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39487" y="1453790"/>
            <a:ext cx="86976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 smtClean="0"/>
              <a:t> Ferias Regionales Intercambio de Saberes</a:t>
            </a:r>
            <a:endParaRPr lang="es-CO" sz="3200" b="1" dirty="0"/>
          </a:p>
        </p:txBody>
      </p:sp>
      <p:sp>
        <p:nvSpPr>
          <p:cNvPr id="3" name="2 CuadroTexto"/>
          <p:cNvSpPr txBox="1"/>
          <p:nvPr/>
        </p:nvSpPr>
        <p:spPr>
          <a:xfrm>
            <a:off x="1589315" y="2023463"/>
            <a:ext cx="680357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600" b="1" u="sng" dirty="0" smtClean="0">
                <a:solidFill>
                  <a:srgbClr val="C00000"/>
                </a:solidFill>
              </a:rPr>
              <a:t>Montería – Yopal – Barranquilla - Medellín</a:t>
            </a:r>
            <a:endParaRPr lang="es-CO" sz="2600" b="1" u="sng" dirty="0">
              <a:solidFill>
                <a:srgbClr val="C00000"/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413659" y="2728554"/>
            <a:ext cx="4174670" cy="32316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s-CO" sz="4000" b="1" dirty="0">
                <a:solidFill>
                  <a:srgbClr val="FF0000"/>
                </a:solidFill>
              </a:rPr>
              <a:t>14</a:t>
            </a:r>
            <a:r>
              <a:rPr lang="es-CO" sz="4000" dirty="0">
                <a:solidFill>
                  <a:srgbClr val="FF0000"/>
                </a:solidFill>
              </a:rPr>
              <a:t>.</a:t>
            </a:r>
            <a:r>
              <a:rPr lang="es-CO" sz="4000" b="1" dirty="0">
                <a:solidFill>
                  <a:srgbClr val="FF0000"/>
                </a:solidFill>
              </a:rPr>
              <a:t>000</a:t>
            </a:r>
            <a:r>
              <a:rPr lang="es-CO" sz="4000" b="1" dirty="0"/>
              <a:t> </a:t>
            </a:r>
            <a:r>
              <a:rPr lang="es-CO" sz="3200" b="1" dirty="0"/>
              <a:t>asistente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s-CO" sz="3200" b="1" dirty="0" smtClean="0">
                <a:solidFill>
                  <a:srgbClr val="FF0000"/>
                </a:solidFill>
              </a:rPr>
              <a:t>44</a:t>
            </a:r>
            <a:r>
              <a:rPr lang="es-CO" sz="3200" b="1" dirty="0" smtClean="0"/>
              <a:t> </a:t>
            </a:r>
            <a:r>
              <a:rPr lang="es-CO" sz="2200" b="1" dirty="0" smtClean="0"/>
              <a:t>secretarias participantes         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s-CO" sz="3200" b="1" dirty="0" smtClean="0">
                <a:solidFill>
                  <a:srgbClr val="FF0000"/>
                </a:solidFill>
              </a:rPr>
              <a:t>941</a:t>
            </a:r>
            <a:r>
              <a:rPr lang="es-CO" sz="2200" b="1" dirty="0" smtClean="0"/>
              <a:t> tutores                                    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s-CO" sz="3200" b="1" dirty="0" smtClean="0">
                <a:solidFill>
                  <a:srgbClr val="FF0000"/>
                </a:solidFill>
              </a:rPr>
              <a:t>65</a:t>
            </a:r>
            <a:r>
              <a:rPr lang="es-CO" sz="2200" b="1" dirty="0" smtClean="0"/>
              <a:t> formadores</a:t>
            </a:r>
            <a:endParaRPr lang="es-CO" sz="2200" b="1" dirty="0"/>
          </a:p>
        </p:txBody>
      </p:sp>
      <p:sp>
        <p:nvSpPr>
          <p:cNvPr id="6" name="5 CuadroTexto"/>
          <p:cNvSpPr txBox="1"/>
          <p:nvPr/>
        </p:nvSpPr>
        <p:spPr>
          <a:xfrm>
            <a:off x="4991100" y="2728554"/>
            <a:ext cx="46101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O" sz="3200" b="1" dirty="0" smtClean="0">
                <a:solidFill>
                  <a:srgbClr val="FF0000"/>
                </a:solidFill>
              </a:rPr>
              <a:t>230</a:t>
            </a:r>
            <a:r>
              <a:rPr lang="es-CO" sz="3200" b="1" dirty="0" smtClean="0"/>
              <a:t> </a:t>
            </a:r>
            <a:r>
              <a:rPr lang="es-CO" sz="2200" b="1" dirty="0"/>
              <a:t>ruedas de conocimiento</a:t>
            </a:r>
            <a:endParaRPr lang="es-CO" sz="2200" dirty="0"/>
          </a:p>
        </p:txBody>
      </p:sp>
      <p:sp>
        <p:nvSpPr>
          <p:cNvPr id="7" name="6 Rectángulo"/>
          <p:cNvSpPr/>
          <p:nvPr/>
        </p:nvSpPr>
        <p:spPr>
          <a:xfrm>
            <a:off x="4991101" y="3465375"/>
            <a:ext cx="46101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O" sz="3200" b="1" dirty="0">
                <a:solidFill>
                  <a:srgbClr val="FF0000"/>
                </a:solidFill>
              </a:rPr>
              <a:t>111</a:t>
            </a:r>
            <a:r>
              <a:rPr lang="es-CO" b="1" dirty="0"/>
              <a:t> </a:t>
            </a:r>
            <a:r>
              <a:rPr lang="es-CO" sz="2200" b="1" dirty="0" smtClean="0"/>
              <a:t>experiencias inspiradoras </a:t>
            </a:r>
            <a:endParaRPr lang="es-CO" sz="2200" dirty="0"/>
          </a:p>
        </p:txBody>
      </p:sp>
      <p:sp>
        <p:nvSpPr>
          <p:cNvPr id="9" name="8 CuadroTexto"/>
          <p:cNvSpPr txBox="1"/>
          <p:nvPr/>
        </p:nvSpPr>
        <p:spPr>
          <a:xfrm>
            <a:off x="5072744" y="4186925"/>
            <a:ext cx="2590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O" sz="3200" b="1" dirty="0">
                <a:solidFill>
                  <a:srgbClr val="FF0000"/>
                </a:solidFill>
              </a:rPr>
              <a:t>63</a:t>
            </a:r>
            <a:r>
              <a:rPr lang="es-CO" sz="2400" b="1" dirty="0"/>
              <a:t> </a:t>
            </a:r>
            <a:r>
              <a:rPr lang="es-CO" sz="2200" b="1" dirty="0"/>
              <a:t>ponencias</a:t>
            </a:r>
            <a:r>
              <a:rPr lang="es-CO" b="1" dirty="0"/>
              <a:t> </a:t>
            </a:r>
            <a:endParaRPr lang="es-CO" dirty="0"/>
          </a:p>
          <a:p>
            <a:endParaRPr lang="es-CO" dirty="0"/>
          </a:p>
        </p:txBody>
      </p:sp>
      <p:sp>
        <p:nvSpPr>
          <p:cNvPr id="10" name="9 Rectángulo"/>
          <p:cNvSpPr/>
          <p:nvPr/>
        </p:nvSpPr>
        <p:spPr>
          <a:xfrm>
            <a:off x="5072744" y="4952765"/>
            <a:ext cx="20029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CO" sz="3200" b="1" dirty="0">
                <a:solidFill>
                  <a:srgbClr val="FF0000"/>
                </a:solidFill>
              </a:rPr>
              <a:t>56</a:t>
            </a:r>
            <a:r>
              <a:rPr lang="es-CO" sz="2400" b="1" dirty="0"/>
              <a:t> </a:t>
            </a:r>
            <a:r>
              <a:rPr lang="es-CO" sz="2200" b="1" dirty="0"/>
              <a:t>aliados</a:t>
            </a:r>
            <a:endParaRPr lang="es-CO" sz="2200" dirty="0"/>
          </a:p>
        </p:txBody>
      </p:sp>
      <p:sp>
        <p:nvSpPr>
          <p:cNvPr id="11" name="10 Rectángulo redondeado"/>
          <p:cNvSpPr/>
          <p:nvPr/>
        </p:nvSpPr>
        <p:spPr bwMode="auto">
          <a:xfrm>
            <a:off x="1074030" y="605018"/>
            <a:ext cx="7028598" cy="534943"/>
          </a:xfrm>
          <a:prstGeom prst="roundRect">
            <a:avLst>
              <a:gd name="adj" fmla="val 10000"/>
            </a:avLst>
          </a:pr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s-CO" sz="2800" b="1" dirty="0" smtClean="0">
                <a:solidFill>
                  <a:srgbClr val="C00000"/>
                </a:solidFill>
              </a:rPr>
              <a:t>Compromiso y Movilidad Social </a:t>
            </a:r>
            <a:endParaRPr lang="es-CO" sz="2800" b="1" dirty="0">
              <a:solidFill>
                <a:srgbClr val="C00000"/>
              </a:solidFill>
            </a:endParaRPr>
          </a:p>
        </p:txBody>
      </p:sp>
      <p:sp>
        <p:nvSpPr>
          <p:cNvPr id="12" name="11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395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1171574" y="1172430"/>
            <a:ext cx="86976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 smtClean="0"/>
              <a:t> </a:t>
            </a:r>
            <a:endParaRPr lang="es-CO" sz="3200" b="1" dirty="0"/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09" y="2024521"/>
            <a:ext cx="4085685" cy="35410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5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329" y="2024521"/>
            <a:ext cx="4224070" cy="35410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6 CuadroTexto"/>
          <p:cNvSpPr txBox="1"/>
          <p:nvPr/>
        </p:nvSpPr>
        <p:spPr>
          <a:xfrm>
            <a:off x="1000126" y="5670371"/>
            <a:ext cx="65722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FF0000"/>
                </a:solidFill>
              </a:rPr>
              <a:t>Foros provinciales</a:t>
            </a:r>
          </a:p>
          <a:p>
            <a:r>
              <a:rPr lang="es-CO" b="1" dirty="0" smtClean="0">
                <a:solidFill>
                  <a:srgbClr val="FF0000"/>
                </a:solidFill>
              </a:rPr>
              <a:t>Provincia </a:t>
            </a:r>
            <a:r>
              <a:rPr lang="es-CO" b="1" dirty="0" err="1" smtClean="0">
                <a:solidFill>
                  <a:srgbClr val="FF0000"/>
                </a:solidFill>
              </a:rPr>
              <a:t>Oiba</a:t>
            </a:r>
            <a:r>
              <a:rPr lang="es-CO" b="1" dirty="0" smtClean="0">
                <a:solidFill>
                  <a:srgbClr val="FF0000"/>
                </a:solidFill>
              </a:rPr>
              <a:t> </a:t>
            </a:r>
            <a:r>
              <a:rPr lang="es-CO" b="1" dirty="0">
                <a:solidFill>
                  <a:srgbClr val="FF0000"/>
                </a:solidFill>
              </a:rPr>
              <a:t>18.06.14                          </a:t>
            </a:r>
            <a:r>
              <a:rPr lang="es-CO" b="1" dirty="0" smtClean="0">
                <a:solidFill>
                  <a:srgbClr val="FF0000"/>
                </a:solidFill>
              </a:rPr>
              <a:t>      </a:t>
            </a:r>
            <a:r>
              <a:rPr lang="es-CO" b="1" dirty="0">
                <a:solidFill>
                  <a:srgbClr val="FF0000"/>
                </a:solidFill>
              </a:rPr>
              <a:t>Provincia Vélez 17.06.14</a:t>
            </a:r>
          </a:p>
          <a:p>
            <a:endParaRPr lang="es-CO" b="1" dirty="0" smtClean="0">
              <a:solidFill>
                <a:srgbClr val="FF0000"/>
              </a:solidFill>
            </a:endParaRPr>
          </a:p>
          <a:p>
            <a:r>
              <a:rPr lang="es-CO" b="1" dirty="0" smtClean="0">
                <a:solidFill>
                  <a:srgbClr val="FF0000"/>
                </a:solidFill>
              </a:rPr>
              <a:t>                            </a:t>
            </a:r>
            <a:endParaRPr lang="es-CO" b="1" dirty="0">
              <a:solidFill>
                <a:srgbClr val="FF0000"/>
              </a:solidFill>
            </a:endParaRPr>
          </a:p>
        </p:txBody>
      </p:sp>
      <p:sp>
        <p:nvSpPr>
          <p:cNvPr id="8" name="7 Rectángulo redondeado"/>
          <p:cNvSpPr/>
          <p:nvPr/>
        </p:nvSpPr>
        <p:spPr bwMode="auto">
          <a:xfrm>
            <a:off x="1154566" y="657225"/>
            <a:ext cx="6867526" cy="642938"/>
          </a:xfrm>
          <a:prstGeom prst="roundRect">
            <a:avLst>
              <a:gd name="adj" fmla="val 10000"/>
            </a:avLst>
          </a:pr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" name="3 CuadroTexto"/>
          <p:cNvSpPr txBox="1"/>
          <p:nvPr/>
        </p:nvSpPr>
        <p:spPr>
          <a:xfrm>
            <a:off x="1323975" y="647700"/>
            <a:ext cx="671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 smtClean="0">
                <a:solidFill>
                  <a:srgbClr val="C00000"/>
                </a:solidFill>
              </a:rPr>
              <a:t>Movilizaciones Regionales </a:t>
            </a:r>
            <a:r>
              <a:rPr lang="es-CO" sz="2800" b="1" dirty="0" err="1" smtClean="0">
                <a:solidFill>
                  <a:srgbClr val="C00000"/>
                </a:solidFill>
              </a:rPr>
              <a:t>autogestionadas</a:t>
            </a:r>
            <a:endParaRPr lang="es-CO" sz="2800" b="1" dirty="0">
              <a:solidFill>
                <a:srgbClr val="C00000"/>
              </a:solidFill>
            </a:endParaRPr>
          </a:p>
        </p:txBody>
      </p:sp>
      <p:sp>
        <p:nvSpPr>
          <p:cNvPr id="9" name="8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052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CuadroTexto"/>
          <p:cNvSpPr txBox="1"/>
          <p:nvPr/>
        </p:nvSpPr>
        <p:spPr>
          <a:xfrm>
            <a:off x="558800" y="5549901"/>
            <a:ext cx="459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b="1" dirty="0">
              <a:solidFill>
                <a:srgbClr val="FF0000"/>
              </a:solidFill>
            </a:endParaRPr>
          </a:p>
          <a:p>
            <a:r>
              <a:rPr lang="es-CO" b="1" dirty="0" smtClean="0">
                <a:solidFill>
                  <a:srgbClr val="FF0000"/>
                </a:solidFill>
              </a:rPr>
              <a:t>Provincia de </a:t>
            </a:r>
            <a:r>
              <a:rPr lang="es-CO" b="1" dirty="0" err="1" smtClean="0">
                <a:solidFill>
                  <a:srgbClr val="FF0000"/>
                </a:solidFill>
              </a:rPr>
              <a:t>Guanentina</a:t>
            </a:r>
            <a:r>
              <a:rPr lang="es-CO" b="1" dirty="0" smtClean="0">
                <a:solidFill>
                  <a:srgbClr val="FF0000"/>
                </a:solidFill>
              </a:rPr>
              <a:t> – </a:t>
            </a:r>
            <a:r>
              <a:rPr lang="es-CO" b="1" dirty="0" err="1" smtClean="0">
                <a:solidFill>
                  <a:srgbClr val="FF0000"/>
                </a:solidFill>
              </a:rPr>
              <a:t>Pinchote</a:t>
            </a:r>
            <a:r>
              <a:rPr lang="es-CO" b="1" dirty="0">
                <a:solidFill>
                  <a:srgbClr val="FF0000"/>
                </a:solidFill>
              </a:rPr>
              <a:t> </a:t>
            </a:r>
            <a:r>
              <a:rPr lang="es-CO" b="1" dirty="0" smtClean="0">
                <a:solidFill>
                  <a:srgbClr val="FF0000"/>
                </a:solidFill>
              </a:rPr>
              <a:t>18.06.14</a:t>
            </a:r>
            <a:endParaRPr lang="es-CO" b="1" dirty="0">
              <a:solidFill>
                <a:srgbClr val="FF0000"/>
              </a:solidFill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387" y="1549399"/>
            <a:ext cx="3280554" cy="40894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7 Rectángulo redondeado"/>
          <p:cNvSpPr/>
          <p:nvPr/>
        </p:nvSpPr>
        <p:spPr bwMode="auto">
          <a:xfrm>
            <a:off x="1154566" y="657225"/>
            <a:ext cx="6867526" cy="642938"/>
          </a:xfrm>
          <a:prstGeom prst="roundRect">
            <a:avLst>
              <a:gd name="adj" fmla="val 10000"/>
            </a:avLst>
          </a:pr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s-CO" sz="2800" b="1" dirty="0" smtClean="0">
                <a:solidFill>
                  <a:srgbClr val="C00000"/>
                </a:solidFill>
              </a:rPr>
              <a:t>Movilizaciones Regionales </a:t>
            </a:r>
            <a:r>
              <a:rPr lang="es-CO" sz="2800" b="1" dirty="0" err="1" smtClean="0">
                <a:solidFill>
                  <a:srgbClr val="C00000"/>
                </a:solidFill>
              </a:rPr>
              <a:t>autogestionadas</a:t>
            </a:r>
            <a:r>
              <a:rPr lang="es-CO" sz="2800" b="1" dirty="0" smtClean="0">
                <a:solidFill>
                  <a:srgbClr val="C00000"/>
                </a:solidFill>
              </a:rPr>
              <a:t> </a:t>
            </a:r>
            <a:endParaRPr lang="es-CO" sz="2800" b="1" dirty="0">
              <a:solidFill>
                <a:srgbClr val="C00000"/>
              </a:solidFill>
            </a:endParaRP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394" y="1562099"/>
            <a:ext cx="3863105" cy="38517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2 CuadroTexto"/>
          <p:cNvSpPr txBox="1"/>
          <p:nvPr/>
        </p:nvSpPr>
        <p:spPr>
          <a:xfrm>
            <a:off x="5156200" y="5638800"/>
            <a:ext cx="398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FF0000"/>
                </a:solidFill>
              </a:rPr>
              <a:t>Provincia Vélez 17.02.14</a:t>
            </a:r>
            <a:endParaRPr lang="es-CO" b="1" dirty="0">
              <a:solidFill>
                <a:srgbClr val="FF0000"/>
              </a:solidFill>
            </a:endParaRPr>
          </a:p>
        </p:txBody>
      </p:sp>
      <p:sp>
        <p:nvSpPr>
          <p:cNvPr id="9" name="8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8727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CuadroTexto"/>
          <p:cNvSpPr txBox="1"/>
          <p:nvPr/>
        </p:nvSpPr>
        <p:spPr>
          <a:xfrm>
            <a:off x="1381125" y="5572125"/>
            <a:ext cx="68675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 smtClean="0">
                <a:solidFill>
                  <a:srgbClr val="FF0000"/>
                </a:solidFill>
              </a:rPr>
              <a:t>Feria municipal </a:t>
            </a:r>
            <a:r>
              <a:rPr lang="es-CO" b="1" dirty="0" err="1" smtClean="0">
                <a:solidFill>
                  <a:srgbClr val="FF0000"/>
                </a:solidFill>
              </a:rPr>
              <a:t>Turbana</a:t>
            </a:r>
            <a:r>
              <a:rPr lang="es-CO" b="1" dirty="0" smtClean="0">
                <a:solidFill>
                  <a:srgbClr val="FF0000"/>
                </a:solidFill>
              </a:rPr>
              <a:t> Bolívar 08.05.2014</a:t>
            </a:r>
          </a:p>
          <a:p>
            <a:pPr algn="ctr"/>
            <a:r>
              <a:rPr lang="es-CO" b="1" dirty="0" smtClean="0">
                <a:solidFill>
                  <a:srgbClr val="FF0000"/>
                </a:solidFill>
              </a:rPr>
              <a:t>Tolima, Cesar, </a:t>
            </a:r>
            <a:r>
              <a:rPr lang="es-CO" b="1" dirty="0" err="1" smtClean="0">
                <a:solidFill>
                  <a:srgbClr val="FF0000"/>
                </a:solidFill>
              </a:rPr>
              <a:t>Cucuta</a:t>
            </a:r>
            <a:r>
              <a:rPr lang="es-CO" b="1" dirty="0" smtClean="0">
                <a:solidFill>
                  <a:srgbClr val="FF0000"/>
                </a:solidFill>
              </a:rPr>
              <a:t> </a:t>
            </a:r>
          </a:p>
          <a:p>
            <a:endParaRPr lang="es-CO" b="1" dirty="0">
              <a:solidFill>
                <a:srgbClr val="FF0000"/>
              </a:solidFill>
            </a:endParaRP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58" y="1879517"/>
            <a:ext cx="4229100" cy="32366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737" y="2017904"/>
            <a:ext cx="4386263" cy="33637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5 Rectángulo redondeado"/>
          <p:cNvSpPr/>
          <p:nvPr/>
        </p:nvSpPr>
        <p:spPr bwMode="auto">
          <a:xfrm>
            <a:off x="806736" y="978694"/>
            <a:ext cx="6629399" cy="642938"/>
          </a:xfrm>
          <a:prstGeom prst="roundRect">
            <a:avLst>
              <a:gd name="adj" fmla="val 10000"/>
            </a:avLst>
          </a:pr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s-CO" sz="2800" b="1" dirty="0" smtClean="0">
                <a:solidFill>
                  <a:srgbClr val="C00000"/>
                </a:solidFill>
              </a:rPr>
              <a:t>Movilizaciones Regionales </a:t>
            </a:r>
            <a:r>
              <a:rPr lang="es-CO" sz="2800" b="1" dirty="0" err="1" smtClean="0">
                <a:solidFill>
                  <a:srgbClr val="C00000"/>
                </a:solidFill>
              </a:rPr>
              <a:t>autogestionadas</a:t>
            </a:r>
            <a:endParaRPr lang="es-CO" sz="2800" b="1" dirty="0">
              <a:solidFill>
                <a:srgbClr val="C00000"/>
              </a:solidFill>
            </a:endParaRPr>
          </a:p>
        </p:txBody>
      </p:sp>
      <p:sp>
        <p:nvSpPr>
          <p:cNvPr id="8" name="7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8915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57200" y="3625600"/>
            <a:ext cx="6341432" cy="1143000"/>
          </a:xfrm>
        </p:spPr>
        <p:txBody>
          <a:bodyPr>
            <a:noAutofit/>
          </a:bodyPr>
          <a:lstStyle/>
          <a:p>
            <a:pPr algn="l"/>
            <a:r>
              <a:rPr lang="es-ES" sz="4000" b="1" dirty="0" smtClean="0">
                <a:solidFill>
                  <a:schemeClr val="bg1"/>
                </a:solidFill>
                <a:latin typeface="Arial"/>
                <a:cs typeface="Arial"/>
              </a:rPr>
              <a:t>Retos</a:t>
            </a:r>
            <a:endParaRPr lang="es-ES" sz="4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5" name="4 Imagen" descr="C:\Users\lfandino\Pictures\Nueva carpeta\20140509_100018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92" y="436728"/>
            <a:ext cx="3029803" cy="2265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5 Imagen" descr="C:\Users\lfandino\AppData\Local\Microsoft\Windows\Temporary Internet Files\Content.Word\DSC_4533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461" y="436728"/>
            <a:ext cx="2825089" cy="2265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6 Imagen" descr="C:\Users\lfandino\Pictures\Nueva carpeta\20140509_111414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322" y="436728"/>
            <a:ext cx="2770495" cy="22655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667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9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757308" y="1152806"/>
            <a:ext cx="1776272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ctr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/>
            </a:pPr>
            <a:r>
              <a:rPr lang="es-CO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nternacionalización y socialización de la experiencia.</a:t>
            </a:r>
          </a:p>
          <a:p>
            <a:pPr lvl="0" algn="ctr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/>
            </a:pPr>
            <a:r>
              <a:rPr lang="es-CO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strategia de sostenibilidad y capacidad instalada</a:t>
            </a:r>
            <a:endParaRPr kumimoji="0" lang="es-CO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Rectangle 22"/>
          <p:cNvSpPr>
            <a:spLocks noChangeArrowheads="1"/>
          </p:cNvSpPr>
          <p:nvPr/>
        </p:nvSpPr>
        <p:spPr bwMode="auto">
          <a:xfrm>
            <a:off x="801484" y="901911"/>
            <a:ext cx="331150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defTabSz="78740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301625" indent="-150813" defTabSz="78740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39738" indent="-136525" defTabSz="78740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603250" indent="-142875" defTabSz="78740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indent="0" fontAlgn="b"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Todas las secretarias cuentan con </a:t>
            </a:r>
            <a:r>
              <a:rPr lang="es-CO" b="1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lider</a:t>
            </a:r>
            <a:r>
              <a:rPr lang="es-CO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 PTA activo y comprometido.</a:t>
            </a:r>
            <a:endParaRPr lang="es-CO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0" name="Rectangle 22"/>
          <p:cNvSpPr>
            <a:spLocks noChangeArrowheads="1"/>
          </p:cNvSpPr>
          <p:nvPr/>
        </p:nvSpPr>
        <p:spPr bwMode="auto">
          <a:xfrm>
            <a:off x="777899" y="1986787"/>
            <a:ext cx="331150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defTabSz="78740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301625" indent="-150813" defTabSz="78740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39738" indent="-136525" defTabSz="78740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603250" indent="-142875" defTabSz="78740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indent="0" fontAlgn="b"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Contar a inicios de agosto con 100% de la planta de tutores. </a:t>
            </a:r>
            <a:endParaRPr lang="es-CO" dirty="0">
              <a:solidFill>
                <a:srgbClr val="000000">
                  <a:lumMod val="75000"/>
                  <a:lumOff val="25000"/>
                </a:srgbClr>
              </a:solidFill>
              <a:latin typeface="+mn-lt"/>
            </a:endParaRPr>
          </a:p>
        </p:txBody>
      </p:sp>
      <p:sp>
        <p:nvSpPr>
          <p:cNvPr id="11" name="Rectangle 22"/>
          <p:cNvSpPr>
            <a:spLocks noChangeArrowheads="1"/>
          </p:cNvSpPr>
          <p:nvPr/>
        </p:nvSpPr>
        <p:spPr bwMode="auto">
          <a:xfrm>
            <a:off x="801484" y="2896277"/>
            <a:ext cx="331150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defTabSz="78740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301625" indent="-150813" defTabSz="78740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39738" indent="-136525" defTabSz="78740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603250" indent="-142875" defTabSz="78740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indent="0" fontAlgn="b"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Convenio 300 facilitar el proceso de legalización de los computadores donados.</a:t>
            </a:r>
            <a:endParaRPr lang="es-CO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2" name="Freeform 99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48885" y="949306"/>
            <a:ext cx="429014" cy="407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99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36185" y="2061291"/>
            <a:ext cx="429014" cy="407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99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47285" y="3062109"/>
            <a:ext cx="429014" cy="407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5" name="Straight Connector 4"/>
          <p:cNvCxnSpPr/>
          <p:nvPr/>
        </p:nvCxnSpPr>
        <p:spPr>
          <a:xfrm>
            <a:off x="348885" y="1601761"/>
            <a:ext cx="364200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3"/>
          <p:cNvCxnSpPr/>
          <p:nvPr/>
        </p:nvCxnSpPr>
        <p:spPr>
          <a:xfrm>
            <a:off x="336185" y="2757247"/>
            <a:ext cx="364200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5199" y="4207986"/>
            <a:ext cx="3311502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defTabSz="78740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301625" indent="-150813" defTabSz="78740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39738" indent="-136525" defTabSz="78740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603250" indent="-142875" defTabSz="78740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indent="0" fontAlgn="b"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b="1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Gestión Educativa :</a:t>
            </a:r>
            <a:r>
              <a:rPr lang="es-CO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 </a:t>
            </a:r>
          </a:p>
          <a:p>
            <a:pPr marL="1587" lvl="1" indent="0" fontAlgn="b">
              <a:lnSpc>
                <a:spcPts val="200"/>
              </a:lnSpc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endParaRPr lang="es-CO" dirty="0" smtClean="0">
              <a:solidFill>
                <a:srgbClr val="000000">
                  <a:lumMod val="75000"/>
                  <a:lumOff val="25000"/>
                </a:srgbClr>
              </a:solidFill>
              <a:latin typeface="+mn-lt"/>
            </a:endParaRPr>
          </a:p>
          <a:p>
            <a:pPr marL="1587" lvl="1" indent="0" fontAlgn="b">
              <a:lnSpc>
                <a:spcPts val="200"/>
              </a:lnSpc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- 100% de EE con compromisos de </a:t>
            </a:r>
          </a:p>
          <a:p>
            <a:pPr marL="1587" lvl="1" indent="0" fontAlgn="b">
              <a:lnSpc>
                <a:spcPts val="200"/>
              </a:lnSpc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gestión.</a:t>
            </a:r>
          </a:p>
          <a:p>
            <a:pPr marL="1587" lvl="1" indent="0" fontAlgn="b">
              <a:lnSpc>
                <a:spcPts val="200"/>
              </a:lnSpc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- EE con integración de estrategias en su </a:t>
            </a:r>
          </a:p>
          <a:p>
            <a:pPr marL="1587" lvl="1" indent="0" fontAlgn="b">
              <a:lnSpc>
                <a:spcPts val="200"/>
              </a:lnSpc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PMI.</a:t>
            </a:r>
          </a:p>
          <a:p>
            <a:pPr marL="1587" lvl="1" indent="0" fontAlgn="b">
              <a:lnSpc>
                <a:spcPts val="200"/>
              </a:lnSpc>
              <a:spcBef>
                <a:spcPct val="50000"/>
              </a:spcBef>
              <a:spcAft>
                <a:spcPts val="600"/>
              </a:spcAft>
              <a:buClr>
                <a:srgbClr val="ED7701"/>
              </a:buClr>
              <a:buNone/>
            </a:pPr>
            <a:r>
              <a:rPr lang="es-CO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- PAM articulados con PTA</a:t>
            </a:r>
            <a:endParaRPr lang="es-CO" dirty="0">
              <a:solidFill>
                <a:srgbClr val="000000">
                  <a:lumMod val="75000"/>
                  <a:lumOff val="25000"/>
                </a:srgbClr>
              </a:solidFill>
              <a:latin typeface="+mn-lt"/>
            </a:endParaRPr>
          </a:p>
        </p:txBody>
      </p:sp>
      <p:sp>
        <p:nvSpPr>
          <p:cNvPr id="18" name="Freeform 9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50484" y="4246543"/>
            <a:ext cx="429014" cy="407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9" name="Straight Connector 26"/>
          <p:cNvCxnSpPr/>
          <p:nvPr/>
        </p:nvCxnSpPr>
        <p:spPr>
          <a:xfrm>
            <a:off x="348885" y="3904915"/>
            <a:ext cx="364200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9 Rectángulo redondeado"/>
          <p:cNvSpPr/>
          <p:nvPr/>
        </p:nvSpPr>
        <p:spPr bwMode="auto">
          <a:xfrm>
            <a:off x="7321835" y="1210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398035" y="1210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Ret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22" name="Rectangle 14"/>
          <p:cNvSpPr txBox="1"/>
          <p:nvPr>
            <p:custDataLst>
              <p:tags r:id="rId8"/>
            </p:custDataLst>
          </p:nvPr>
        </p:nvSpPr>
        <p:spPr>
          <a:xfrm>
            <a:off x="6600872" y="3376241"/>
            <a:ext cx="2206578" cy="488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lnSpc>
                <a:spcPts val="1800"/>
              </a:lnSpc>
              <a:buClr>
                <a:schemeClr val="tx2"/>
              </a:buClr>
              <a:defRPr sz="1800" b="1" baseline="0">
                <a:solidFill>
                  <a:srgbClr val="ED7701"/>
                </a:solidFill>
                <a:latin typeface="Arial Narrow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ts val="1900"/>
              </a:lnSpc>
            </a:pPr>
            <a:r>
              <a:rPr lang="es-CO" sz="2200" dirty="0" smtClean="0">
                <a:solidFill>
                  <a:srgbClr val="C00000"/>
                </a:solidFill>
              </a:rPr>
              <a:t>Para seguir consolidándonos…</a:t>
            </a:r>
            <a:endParaRPr lang="es-CO" sz="2200" dirty="0">
              <a:solidFill>
                <a:srgbClr val="C00000"/>
              </a:solidFill>
            </a:endParaRPr>
          </a:p>
        </p:txBody>
      </p:sp>
      <p:grpSp>
        <p:nvGrpSpPr>
          <p:cNvPr id="25" name="Group 2"/>
          <p:cNvGrpSpPr/>
          <p:nvPr/>
        </p:nvGrpSpPr>
        <p:grpSpPr>
          <a:xfrm>
            <a:off x="4536024" y="2979811"/>
            <a:ext cx="1819275" cy="2372433"/>
            <a:chOff x="1981200" y="3695700"/>
            <a:chExt cx="1879600" cy="2451100"/>
          </a:xfrm>
        </p:grpSpPr>
        <p:sp>
          <p:nvSpPr>
            <p:cNvPr id="26" name="Rounded Rectangle 29"/>
            <p:cNvSpPr/>
            <p:nvPr>
              <p:custDataLst>
                <p:tags r:id="rId9"/>
              </p:custDataLst>
            </p:nvPr>
          </p:nvSpPr>
          <p:spPr>
            <a:xfrm>
              <a:off x="1981200" y="3695700"/>
              <a:ext cx="1879600" cy="2451100"/>
            </a:xfrm>
            <a:prstGeom prst="roundRect">
              <a:avLst>
                <a:gd name="adj" fmla="val 9254"/>
              </a:avLst>
            </a:prstGeom>
            <a:gradFill>
              <a:gsLst>
                <a:gs pos="87000">
                  <a:schemeClr val="bg1">
                    <a:lumMod val="95000"/>
                  </a:schemeClr>
                </a:gs>
                <a:gs pos="0">
                  <a:schemeClr val="bg1"/>
                </a:gs>
                <a:gs pos="9900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27" name="Group 30"/>
            <p:cNvGrpSpPr/>
            <p:nvPr/>
          </p:nvGrpSpPr>
          <p:grpSpPr>
            <a:xfrm>
              <a:off x="2275205" y="3884295"/>
              <a:ext cx="1291590" cy="1887855"/>
              <a:chOff x="2281741" y="3884295"/>
              <a:chExt cx="1291590" cy="1887855"/>
            </a:xfrm>
          </p:grpSpPr>
          <p:sp>
            <p:nvSpPr>
              <p:cNvPr id="28" name="Rectangle 16"/>
              <p:cNvSpPr/>
              <p:nvPr>
                <p:custDataLst>
                  <p:tags r:id="rId10"/>
                </p:custDataLst>
              </p:nvPr>
            </p:nvSpPr>
            <p:spPr>
              <a:xfrm>
                <a:off x="2325556" y="4895850"/>
                <a:ext cx="504825" cy="8763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ectangle 25"/>
              <p:cNvSpPr/>
              <p:nvPr>
                <p:custDataLst>
                  <p:tags r:id="rId11"/>
                </p:custDataLst>
              </p:nvPr>
            </p:nvSpPr>
            <p:spPr>
              <a:xfrm>
                <a:off x="3068506" y="4057650"/>
                <a:ext cx="504825" cy="17145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Freeform 24"/>
              <p:cNvSpPr/>
              <p:nvPr>
                <p:custDataLst>
                  <p:tags r:id="rId12"/>
                </p:custDataLst>
              </p:nvPr>
            </p:nvSpPr>
            <p:spPr>
              <a:xfrm>
                <a:off x="2281741" y="3884295"/>
                <a:ext cx="1219200" cy="1074420"/>
              </a:xfrm>
              <a:custGeom>
                <a:avLst/>
                <a:gdLst>
                  <a:gd name="connsiteX0" fmla="*/ 0 w 1219200"/>
                  <a:gd name="connsiteY0" fmla="*/ 807720 h 1074420"/>
                  <a:gd name="connsiteX1" fmla="*/ 350520 w 1219200"/>
                  <a:gd name="connsiteY1" fmla="*/ 1074420 h 1074420"/>
                  <a:gd name="connsiteX2" fmla="*/ 1219200 w 1219200"/>
                  <a:gd name="connsiteY2" fmla="*/ 0 h 107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200" h="1074420">
                    <a:moveTo>
                      <a:pt x="0" y="807720"/>
                    </a:moveTo>
                    <a:lnTo>
                      <a:pt x="350520" y="1074420"/>
                    </a:lnTo>
                    <a:lnTo>
                      <a:pt x="1219200" y="0"/>
                    </a:lnTo>
                  </a:path>
                </a:pathLst>
              </a:custGeom>
              <a:noFill/>
              <a:ln w="381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31" name="Oval 17"/>
              <p:cNvSpPr/>
              <p:nvPr>
                <p:custDataLst>
                  <p:tags r:id="rId13"/>
                </p:custDataLst>
              </p:nvPr>
            </p:nvSpPr>
            <p:spPr>
              <a:xfrm>
                <a:off x="2571301" y="4890135"/>
                <a:ext cx="114300" cy="114300"/>
              </a:xfrm>
              <a:prstGeom prst="ellipse">
                <a:avLst/>
              </a:prstGeom>
              <a:solidFill>
                <a:srgbClr val="ED770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27"/>
              <p:cNvSpPr/>
              <p:nvPr>
                <p:custDataLst>
                  <p:tags r:id="rId14"/>
                </p:custDataLst>
              </p:nvPr>
            </p:nvSpPr>
            <p:spPr>
              <a:xfrm>
                <a:off x="3302821" y="3990975"/>
                <a:ext cx="114300" cy="114300"/>
              </a:xfrm>
              <a:prstGeom prst="ellipse">
                <a:avLst/>
              </a:prstGeom>
              <a:solidFill>
                <a:srgbClr val="ED770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33" name="Picture 4" descr="H:\documentos JennyA\evaluacion\fotos de aplicacion de prueba diagnostica Isem2013\San Andres\IMG-20130502-WA0008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83187">
            <a:off x="6742001" y="828074"/>
            <a:ext cx="1828800" cy="1371681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34" name="33 Imagen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588"/>
          <a:stretch/>
        </p:blipFill>
        <p:spPr>
          <a:xfrm rot="20659008">
            <a:off x="4622726" y="948055"/>
            <a:ext cx="1835606" cy="13074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067533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320040" y="3759200"/>
            <a:ext cx="60045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400" dirty="0" smtClean="0">
                <a:solidFill>
                  <a:schemeClr val="bg1"/>
                </a:solidFill>
              </a:rPr>
              <a:t>Proyección Secundaria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140" y="571934"/>
            <a:ext cx="8517515" cy="2240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758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57200" y="3625850"/>
            <a:ext cx="6342063" cy="1143000"/>
          </a:xfrm>
        </p:spPr>
        <p:txBody>
          <a:bodyPr rtlCol="0">
            <a:norm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es-ES" sz="6000" b="1" dirty="0" smtClean="0">
                <a:solidFill>
                  <a:schemeClr val="bg1"/>
                </a:solidFill>
                <a:latin typeface="Arial"/>
                <a:cs typeface="Arial"/>
              </a:rPr>
              <a:t>Logros</a:t>
            </a:r>
            <a:endParaRPr lang="es-ES" sz="6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6" name="Picture 3" descr="C:\Documents and Settings\cmurillo\Mis documentos\OCAI\PBM\PNLE\PNL\fotos LECTORES\LECTORES (13 de 27).jpg"/>
          <p:cNvPicPr>
            <a:picLocks noChangeAspect="1" noChangeArrowheads="1"/>
          </p:cNvPicPr>
          <p:nvPr/>
        </p:nvPicPr>
        <p:blipFill>
          <a:blip r:embed="rId3"/>
          <a:srcRect l="27669" t="11571"/>
          <a:stretch>
            <a:fillRect/>
          </a:stretch>
        </p:blipFill>
        <p:spPr bwMode="auto">
          <a:xfrm>
            <a:off x="71716" y="577140"/>
            <a:ext cx="2779060" cy="226532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6" descr="C:\Users\lvergara\Desktop\PTA\evaluacion\fotos de aplicacion de prueba diagnostica Isem2013\San Andres\IMG-20130502-WA000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8"/>
          <a:stretch/>
        </p:blipFill>
        <p:spPr bwMode="auto">
          <a:xfrm>
            <a:off x="6131861" y="597206"/>
            <a:ext cx="2873762" cy="227962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21"/>
          <p:cNvSpPr/>
          <p:nvPr>
            <p:custDataLst>
              <p:tags r:id="rId1"/>
            </p:custDataLst>
          </p:nvPr>
        </p:nvSpPr>
        <p:spPr>
          <a:xfrm>
            <a:off x="2984500" y="596900"/>
            <a:ext cx="3022600" cy="2246313"/>
          </a:xfrm>
          <a:prstGeom prst="roundRect">
            <a:avLst>
              <a:gd name="adj" fmla="val 10000"/>
            </a:avLst>
          </a:prstGeom>
          <a:blipFill rotWithShape="1"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3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35256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Botón de acción: Inicio">
            <a:hlinkClick r:id="" action="ppaction://hlinkshowjump?jump=firstslide" highlightClick="1"/>
          </p:cNvPr>
          <p:cNvSpPr/>
          <p:nvPr/>
        </p:nvSpPr>
        <p:spPr>
          <a:xfrm>
            <a:off x="315108" y="2976548"/>
            <a:ext cx="2743200" cy="2400300"/>
          </a:xfrm>
          <a:prstGeom prst="actionButtonHom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4 Botón de acción: Inicio">
            <a:hlinkClick r:id="" action="ppaction://hlinkshowjump?jump=firstslide" highlightClick="1"/>
          </p:cNvPr>
          <p:cNvSpPr/>
          <p:nvPr/>
        </p:nvSpPr>
        <p:spPr>
          <a:xfrm>
            <a:off x="5180869" y="2976548"/>
            <a:ext cx="2743200" cy="2400300"/>
          </a:xfrm>
          <a:prstGeom prst="actionButtonHom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11" name="10 Grupo"/>
          <p:cNvGrpSpPr/>
          <p:nvPr/>
        </p:nvGrpSpPr>
        <p:grpSpPr>
          <a:xfrm>
            <a:off x="1256093" y="917878"/>
            <a:ext cx="757238" cy="956716"/>
            <a:chOff x="771027" y="1141730"/>
            <a:chExt cx="757238" cy="956716"/>
          </a:xfrm>
        </p:grpSpPr>
        <p:pic>
          <p:nvPicPr>
            <p:cNvPr id="6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083" y="1831657"/>
              <a:ext cx="571126" cy="266789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grpSp>
          <p:nvGrpSpPr>
            <p:cNvPr id="7" name="Group 13"/>
            <p:cNvGrpSpPr/>
            <p:nvPr>
              <p:custDataLst>
                <p:tags r:id="rId3"/>
              </p:custDataLst>
            </p:nvPr>
          </p:nvGrpSpPr>
          <p:grpSpPr>
            <a:xfrm>
              <a:off x="771027" y="1141730"/>
              <a:ext cx="757238" cy="956716"/>
              <a:chOff x="236403" y="1586230"/>
              <a:chExt cx="757238" cy="956716"/>
            </a:xfrm>
          </p:grpSpPr>
          <p:sp>
            <p:nvSpPr>
              <p:cNvPr id="8" name="Oval 1"/>
              <p:cNvSpPr/>
              <p:nvPr/>
            </p:nvSpPr>
            <p:spPr>
              <a:xfrm>
                <a:off x="427697" y="1586230"/>
                <a:ext cx="374650" cy="374650"/>
              </a:xfrm>
              <a:prstGeom prst="ellipse">
                <a:avLst/>
              </a:prstGeom>
              <a:gradFill>
                <a:gsLst>
                  <a:gs pos="10000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Freeform 5"/>
              <p:cNvSpPr/>
              <p:nvPr/>
            </p:nvSpPr>
            <p:spPr>
              <a:xfrm>
                <a:off x="236403" y="2004985"/>
                <a:ext cx="757238" cy="495327"/>
              </a:xfrm>
              <a:custGeom>
                <a:avLst/>
                <a:gdLst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238" h="495327">
                    <a:moveTo>
                      <a:pt x="0" y="295302"/>
                    </a:moveTo>
                    <a:cubicBezTo>
                      <a:pt x="26988" y="228627"/>
                      <a:pt x="114300" y="3202"/>
                      <a:pt x="357188" y="27"/>
                    </a:cubicBezTo>
                    <a:cubicBezTo>
                      <a:pt x="600076" y="-3148"/>
                      <a:pt x="744538" y="269902"/>
                      <a:pt x="757238" y="309589"/>
                    </a:cubicBezTo>
                    <a:cubicBezTo>
                      <a:pt x="668338" y="415952"/>
                      <a:pt x="582613" y="481039"/>
                      <a:pt x="338138" y="495327"/>
                    </a:cubicBezTo>
                    <a:cubicBezTo>
                      <a:pt x="158750" y="476277"/>
                      <a:pt x="39688" y="381027"/>
                      <a:pt x="0" y="295302"/>
                    </a:cubicBezTo>
                    <a:close/>
                  </a:path>
                </a:pathLst>
              </a:custGeom>
              <a:gradFill>
                <a:gsLst>
                  <a:gs pos="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0" name="Picture 1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459" y="2276157"/>
                <a:ext cx="571126" cy="266789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</p:pic>
        </p:grpSp>
      </p:grpSp>
      <p:cxnSp>
        <p:nvCxnSpPr>
          <p:cNvPr id="13" name="12 Conector recto"/>
          <p:cNvCxnSpPr/>
          <p:nvPr/>
        </p:nvCxnSpPr>
        <p:spPr>
          <a:xfrm>
            <a:off x="950108" y="1973248"/>
            <a:ext cx="1397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16 CuadroTexto"/>
          <p:cNvSpPr txBox="1"/>
          <p:nvPr/>
        </p:nvSpPr>
        <p:spPr>
          <a:xfrm>
            <a:off x="962808" y="1935148"/>
            <a:ext cx="139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NGUAJE</a:t>
            </a:r>
            <a:endParaRPr lang="es-CO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17 Grupo"/>
          <p:cNvGrpSpPr/>
          <p:nvPr/>
        </p:nvGrpSpPr>
        <p:grpSpPr>
          <a:xfrm>
            <a:off x="6126162" y="1071560"/>
            <a:ext cx="757238" cy="956716"/>
            <a:chOff x="771027" y="1141730"/>
            <a:chExt cx="757238" cy="956716"/>
          </a:xfrm>
        </p:grpSpPr>
        <p:pic>
          <p:nvPicPr>
            <p:cNvPr id="19" name="Picture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083" y="1831657"/>
              <a:ext cx="571126" cy="266789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grpSp>
          <p:nvGrpSpPr>
            <p:cNvPr id="20" name="Group 13"/>
            <p:cNvGrpSpPr/>
            <p:nvPr>
              <p:custDataLst>
                <p:tags r:id="rId2"/>
              </p:custDataLst>
            </p:nvPr>
          </p:nvGrpSpPr>
          <p:grpSpPr>
            <a:xfrm>
              <a:off x="771027" y="1141730"/>
              <a:ext cx="757238" cy="956716"/>
              <a:chOff x="236403" y="1586230"/>
              <a:chExt cx="757238" cy="956716"/>
            </a:xfrm>
          </p:grpSpPr>
          <p:sp>
            <p:nvSpPr>
              <p:cNvPr id="21" name="Oval 1"/>
              <p:cNvSpPr/>
              <p:nvPr/>
            </p:nvSpPr>
            <p:spPr>
              <a:xfrm>
                <a:off x="427697" y="1586230"/>
                <a:ext cx="374650" cy="374650"/>
              </a:xfrm>
              <a:prstGeom prst="ellipse">
                <a:avLst/>
              </a:prstGeom>
              <a:gradFill>
                <a:gsLst>
                  <a:gs pos="10000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Freeform 5"/>
              <p:cNvSpPr/>
              <p:nvPr/>
            </p:nvSpPr>
            <p:spPr>
              <a:xfrm>
                <a:off x="236403" y="2004985"/>
                <a:ext cx="757238" cy="495327"/>
              </a:xfrm>
              <a:custGeom>
                <a:avLst/>
                <a:gdLst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238" h="495327">
                    <a:moveTo>
                      <a:pt x="0" y="295302"/>
                    </a:moveTo>
                    <a:cubicBezTo>
                      <a:pt x="26988" y="228627"/>
                      <a:pt x="114300" y="3202"/>
                      <a:pt x="357188" y="27"/>
                    </a:cubicBezTo>
                    <a:cubicBezTo>
                      <a:pt x="600076" y="-3148"/>
                      <a:pt x="744538" y="269902"/>
                      <a:pt x="757238" y="309589"/>
                    </a:cubicBezTo>
                    <a:cubicBezTo>
                      <a:pt x="668338" y="415952"/>
                      <a:pt x="582613" y="481039"/>
                      <a:pt x="338138" y="495327"/>
                    </a:cubicBezTo>
                    <a:cubicBezTo>
                      <a:pt x="158750" y="476277"/>
                      <a:pt x="39688" y="381027"/>
                      <a:pt x="0" y="295302"/>
                    </a:cubicBezTo>
                    <a:close/>
                  </a:path>
                </a:pathLst>
              </a:custGeom>
              <a:gradFill>
                <a:gsLst>
                  <a:gs pos="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3" name="Picture 1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459" y="2276157"/>
                <a:ext cx="571126" cy="266789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</p:grpSp>
      <p:cxnSp>
        <p:nvCxnSpPr>
          <p:cNvPr id="24" name="23 Conector recto"/>
          <p:cNvCxnSpPr/>
          <p:nvPr/>
        </p:nvCxnSpPr>
        <p:spPr>
          <a:xfrm>
            <a:off x="5736728" y="2028276"/>
            <a:ext cx="1397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24 CuadroTexto"/>
          <p:cNvSpPr txBox="1"/>
          <p:nvPr/>
        </p:nvSpPr>
        <p:spPr>
          <a:xfrm>
            <a:off x="5406528" y="2028276"/>
            <a:ext cx="205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ATICAS</a:t>
            </a:r>
            <a:endParaRPr lang="es-CO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25 Flecha abajo"/>
          <p:cNvSpPr/>
          <p:nvPr/>
        </p:nvSpPr>
        <p:spPr>
          <a:xfrm>
            <a:off x="1383887" y="2295496"/>
            <a:ext cx="565944" cy="566752"/>
          </a:xfrm>
          <a:prstGeom prst="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7" name="26 Flecha abajo"/>
          <p:cNvSpPr/>
          <p:nvPr/>
        </p:nvSpPr>
        <p:spPr>
          <a:xfrm>
            <a:off x="6209569" y="2409796"/>
            <a:ext cx="565944" cy="566752"/>
          </a:xfrm>
          <a:prstGeom prst="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9" name="28 Flecha cuádruple"/>
          <p:cNvSpPr/>
          <p:nvPr/>
        </p:nvSpPr>
        <p:spPr>
          <a:xfrm rot="18842393">
            <a:off x="3277711" y="1771925"/>
            <a:ext cx="1547243" cy="1511649"/>
          </a:xfrm>
          <a:prstGeom prst="quadArrow">
            <a:avLst>
              <a:gd name="adj1" fmla="val 14885"/>
              <a:gd name="adj2" fmla="val 22500"/>
              <a:gd name="adj3" fmla="val 22500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29 Rectángulo redondeado"/>
          <p:cNvSpPr/>
          <p:nvPr/>
        </p:nvSpPr>
        <p:spPr bwMode="auto">
          <a:xfrm>
            <a:off x="6883400" y="121055"/>
            <a:ext cx="2133600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1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883400" y="121055"/>
            <a:ext cx="2260600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Proyección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pic>
        <p:nvPicPr>
          <p:cNvPr id="1026" name="Picture 2" descr="http://www.casinergiaeducativa.com/galeria/noticias/images/wYcHzAAxCA45MJzc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9279" y="4422081"/>
            <a:ext cx="2393167" cy="179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32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149" y="4273274"/>
            <a:ext cx="676275" cy="7426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4" name="33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438" y="4256968"/>
            <a:ext cx="707878" cy="7426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52655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ingle Corner Rectangle 29"/>
          <p:cNvSpPr/>
          <p:nvPr>
            <p:custDataLst>
              <p:tags r:id="rId1"/>
            </p:custDataLst>
          </p:nvPr>
        </p:nvSpPr>
        <p:spPr>
          <a:xfrm>
            <a:off x="488951" y="575968"/>
            <a:ext cx="4140344" cy="5443923"/>
          </a:xfrm>
          <a:prstGeom prst="round1Rect">
            <a:avLst>
              <a:gd name="adj" fmla="val 2542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pic>
        <p:nvPicPr>
          <p:cNvPr id="7" name="Picture 6" descr="http://www.forempv.ccoo.es/ficheros/imagenes/comillas.png"/>
          <p:cNvPicPr>
            <a:picLocks noChangeAspect="1" noChangeArrowheads="1"/>
          </p:cNvPicPr>
          <p:nvPr/>
        </p:nvPicPr>
        <p:blipFill>
          <a:blip r:embed="rId1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679450" y="798037"/>
            <a:ext cx="669687" cy="525704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</p:pic>
      <p:pic>
        <p:nvPicPr>
          <p:cNvPr id="8" name="Picture 6" descr="http://www.forempv.ccoo.es/ficheros/imagenes/comillas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5329" y="5678494"/>
            <a:ext cx="669687" cy="525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42"/>
          <p:cNvGrpSpPr/>
          <p:nvPr/>
        </p:nvGrpSpPr>
        <p:grpSpPr>
          <a:xfrm>
            <a:off x="679449" y="1378593"/>
            <a:ext cx="3543987" cy="885874"/>
            <a:chOff x="4809438" y="1983284"/>
            <a:chExt cx="3543987" cy="885874"/>
          </a:xfrm>
        </p:grpSpPr>
        <p:sp>
          <p:nvSpPr>
            <p:cNvPr id="10" name="Rectangle 6"/>
            <p:cNvSpPr txBox="1"/>
            <p:nvPr>
              <p:custDataLst>
                <p:tags r:id="rId16"/>
              </p:custDataLst>
            </p:nvPr>
          </p:nvSpPr>
          <p:spPr>
            <a:xfrm>
              <a:off x="4809438" y="1983284"/>
              <a:ext cx="354398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lnSpc>
                  <a:spcPts val="2200"/>
                </a:lnSpc>
                <a:buClr>
                  <a:schemeClr val="tx2"/>
                </a:buClr>
                <a:defRPr sz="2400" b="1" baseline="0">
                  <a:solidFill>
                    <a:schemeClr val="bg2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s-CO" sz="4000" dirty="0" smtClean="0">
                  <a:solidFill>
                    <a:srgbClr val="FF0000"/>
                  </a:solidFill>
                </a:rPr>
                <a:t>150</a:t>
              </a:r>
              <a:endParaRPr lang="es-CO" sz="4000" dirty="0">
                <a:solidFill>
                  <a:srgbClr val="FF0000"/>
                </a:solidFill>
              </a:endParaRPr>
            </a:p>
          </p:txBody>
        </p:sp>
        <p:sp>
          <p:nvSpPr>
            <p:cNvPr id="11" name="Rectangle 6"/>
            <p:cNvSpPr txBox="1"/>
            <p:nvPr>
              <p:custDataLst>
                <p:tags r:id="rId17"/>
              </p:custDataLst>
            </p:nvPr>
          </p:nvSpPr>
          <p:spPr>
            <a:xfrm>
              <a:off x="4809438" y="2484437"/>
              <a:ext cx="3543987" cy="384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lnSpc>
                  <a:spcPct val="100000"/>
                </a:lnSpc>
                <a:buClr>
                  <a:schemeClr val="tx2"/>
                </a:buClr>
                <a:defRPr sz="2500" b="0" baseline="0">
                  <a:solidFill>
                    <a:srgbClr val="91B21A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s-CO" b="1" dirty="0" smtClean="0">
                  <a:solidFill>
                    <a:schemeClr val="tx1"/>
                  </a:solidFill>
                </a:rPr>
                <a:t>Formadores</a:t>
              </a:r>
              <a:endParaRPr lang="es-CO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41"/>
          <p:cNvGrpSpPr/>
          <p:nvPr/>
        </p:nvGrpSpPr>
        <p:grpSpPr>
          <a:xfrm>
            <a:off x="679449" y="2458181"/>
            <a:ext cx="3543987" cy="840804"/>
            <a:chOff x="4809438" y="2945309"/>
            <a:chExt cx="3543987" cy="840804"/>
          </a:xfrm>
        </p:grpSpPr>
        <p:sp>
          <p:nvSpPr>
            <p:cNvPr id="13" name="Rectangle 6"/>
            <p:cNvSpPr txBox="1"/>
            <p:nvPr>
              <p:custDataLst>
                <p:tags r:id="rId14"/>
              </p:custDataLst>
            </p:nvPr>
          </p:nvSpPr>
          <p:spPr>
            <a:xfrm>
              <a:off x="4809438" y="2945309"/>
              <a:ext cx="354398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lnSpc>
                  <a:spcPts val="2200"/>
                </a:lnSpc>
                <a:buClr>
                  <a:schemeClr val="tx2"/>
                </a:buClr>
                <a:defRPr sz="2400" b="1" baseline="0">
                  <a:solidFill>
                    <a:schemeClr val="bg2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s-CO" sz="4000" dirty="0" smtClean="0">
                  <a:solidFill>
                    <a:srgbClr val="FF0000"/>
                  </a:solidFill>
                </a:rPr>
                <a:t>4.350</a:t>
              </a:r>
              <a:r>
                <a:rPr lang="es-CO" sz="4000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</a:rPr>
                <a:t> </a:t>
              </a:r>
              <a:endParaRPr lang="es-CO" sz="4000" dirty="0">
                <a:solidFill>
                  <a:schemeClr val="accent4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" name="Rectangle 6"/>
            <p:cNvSpPr txBox="1"/>
            <p:nvPr>
              <p:custDataLst>
                <p:tags r:id="rId15"/>
              </p:custDataLst>
            </p:nvPr>
          </p:nvSpPr>
          <p:spPr>
            <a:xfrm>
              <a:off x="4809438" y="3465512"/>
              <a:ext cx="3543987" cy="320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lnSpc>
                  <a:spcPct val="100000"/>
                </a:lnSpc>
                <a:buClr>
                  <a:schemeClr val="tx2"/>
                </a:buClr>
                <a:defRPr sz="2500" b="0" baseline="0">
                  <a:solidFill>
                    <a:srgbClr val="91B21A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ts val="2500"/>
                </a:lnSpc>
              </a:pPr>
              <a:r>
                <a:rPr lang="es-CO" b="1" dirty="0" smtClean="0">
                  <a:solidFill>
                    <a:schemeClr val="tx1"/>
                  </a:solidFill>
                </a:rPr>
                <a:t>Tutores</a:t>
              </a:r>
              <a:endParaRPr lang="es-CO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44"/>
          <p:cNvGrpSpPr/>
          <p:nvPr/>
        </p:nvGrpSpPr>
        <p:grpSpPr>
          <a:xfrm>
            <a:off x="645767" y="3602002"/>
            <a:ext cx="3773833" cy="2417890"/>
            <a:chOff x="4747181" y="3811504"/>
            <a:chExt cx="3773833" cy="2417890"/>
          </a:xfrm>
        </p:grpSpPr>
        <p:sp>
          <p:nvSpPr>
            <p:cNvPr id="16" name="Rectangle 6"/>
            <p:cNvSpPr txBox="1"/>
            <p:nvPr>
              <p:custDataLst>
                <p:tags r:id="rId10"/>
              </p:custDataLst>
            </p:nvPr>
          </p:nvSpPr>
          <p:spPr>
            <a:xfrm>
              <a:off x="4800600" y="3811504"/>
              <a:ext cx="354398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lnSpc>
                  <a:spcPts val="2200"/>
                </a:lnSpc>
                <a:buClr>
                  <a:schemeClr val="tx2"/>
                </a:buClr>
                <a:defRPr sz="2400" b="1" baseline="0">
                  <a:solidFill>
                    <a:schemeClr val="bg2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s-CO" sz="4000" dirty="0" smtClean="0">
                  <a:solidFill>
                    <a:srgbClr val="FF0000"/>
                  </a:solidFill>
                </a:rPr>
                <a:t>4.350</a:t>
              </a:r>
              <a:endParaRPr lang="es-CO" sz="2500" b="0" dirty="0">
                <a:solidFill>
                  <a:srgbClr val="FF0000"/>
                </a:solidFill>
              </a:endParaRPr>
            </a:p>
          </p:txBody>
        </p:sp>
        <p:sp>
          <p:nvSpPr>
            <p:cNvPr id="17" name="Rectangle 6"/>
            <p:cNvSpPr txBox="1"/>
            <p:nvPr>
              <p:custDataLst>
                <p:tags r:id="rId11"/>
              </p:custDataLst>
            </p:nvPr>
          </p:nvSpPr>
          <p:spPr>
            <a:xfrm>
              <a:off x="4780863" y="5459953"/>
              <a:ext cx="3543987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lnSpc>
                  <a:spcPct val="100000"/>
                </a:lnSpc>
                <a:buClr>
                  <a:schemeClr val="tx2"/>
                </a:buClr>
                <a:defRPr sz="2500" b="0" baseline="0">
                  <a:solidFill>
                    <a:srgbClr val="91B21A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s-CO" b="1" dirty="0" smtClean="0">
                  <a:solidFill>
                    <a:schemeClr val="tx1"/>
                  </a:solidFill>
                </a:rPr>
                <a:t>Establecimientos con Secundaria</a:t>
              </a:r>
              <a:endParaRPr lang="es-CO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6"/>
            <p:cNvSpPr txBox="1"/>
            <p:nvPr>
              <p:custDataLst>
                <p:tags r:id="rId12"/>
              </p:custDataLst>
            </p:nvPr>
          </p:nvSpPr>
          <p:spPr>
            <a:xfrm>
              <a:off x="4768165" y="4330652"/>
              <a:ext cx="3752849" cy="384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lnSpc>
                  <a:spcPts val="2200"/>
                </a:lnSpc>
                <a:buClr>
                  <a:schemeClr val="tx2"/>
                </a:buClr>
                <a:defRPr sz="2400" b="1" baseline="0">
                  <a:solidFill>
                    <a:schemeClr val="bg2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s-CO" sz="2500" dirty="0" smtClean="0">
                  <a:solidFill>
                    <a:schemeClr val="tx1"/>
                  </a:solidFill>
                </a:rPr>
                <a:t>Establecimientos Educativos</a:t>
              </a:r>
              <a:endParaRPr lang="es-CO" sz="25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6"/>
            <p:cNvSpPr txBox="1"/>
            <p:nvPr>
              <p:custDataLst>
                <p:tags r:id="rId13"/>
              </p:custDataLst>
            </p:nvPr>
          </p:nvSpPr>
          <p:spPr>
            <a:xfrm>
              <a:off x="4747181" y="4925008"/>
              <a:ext cx="354398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lnSpc>
                  <a:spcPts val="2200"/>
                </a:lnSpc>
                <a:buClr>
                  <a:schemeClr val="tx2"/>
                </a:buClr>
                <a:defRPr sz="2400" b="1" baseline="0">
                  <a:solidFill>
                    <a:schemeClr val="bg2"/>
                  </a:solidFill>
                  <a:latin typeface="Arial Narrow" pitchFamily="34" charset="0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s-CO" sz="4000" dirty="0" smtClean="0">
                  <a:solidFill>
                    <a:srgbClr val="FF0000"/>
                  </a:solidFill>
                </a:rPr>
                <a:t>2.888</a:t>
              </a:r>
              <a:r>
                <a:rPr lang="es-CO" sz="4000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</a:rPr>
                <a:t> </a:t>
              </a:r>
              <a:endParaRPr lang="es-CO" sz="2500" b="0" dirty="0">
                <a:solidFill>
                  <a:schemeClr val="accent4">
                    <a:lumMod val="75000"/>
                    <a:lumOff val="25000"/>
                  </a:schemeClr>
                </a:solidFill>
              </a:endParaRPr>
            </a:p>
          </p:txBody>
        </p:sp>
      </p:grpSp>
      <p:cxnSp>
        <p:nvCxnSpPr>
          <p:cNvPr id="20" name="Straight Connector 46"/>
          <p:cNvCxnSpPr/>
          <p:nvPr/>
        </p:nvCxnSpPr>
        <p:spPr>
          <a:xfrm>
            <a:off x="666751" y="2340667"/>
            <a:ext cx="3476625" cy="0"/>
          </a:xfrm>
          <a:prstGeom prst="line">
            <a:avLst/>
          </a:prstGeom>
          <a:noFill/>
          <a:ln w="6350">
            <a:solidFill>
              <a:srgbClr val="969696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47"/>
          <p:cNvCxnSpPr/>
          <p:nvPr/>
        </p:nvCxnSpPr>
        <p:spPr>
          <a:xfrm>
            <a:off x="679449" y="3451385"/>
            <a:ext cx="3476625" cy="0"/>
          </a:xfrm>
          <a:prstGeom prst="line">
            <a:avLst/>
          </a:prstGeom>
          <a:noFill/>
          <a:ln w="6350">
            <a:solidFill>
              <a:srgbClr val="969696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Straight Connector 47"/>
          <p:cNvCxnSpPr/>
          <p:nvPr/>
        </p:nvCxnSpPr>
        <p:spPr>
          <a:xfrm>
            <a:off x="590551" y="4669983"/>
            <a:ext cx="3476625" cy="0"/>
          </a:xfrm>
          <a:prstGeom prst="line">
            <a:avLst/>
          </a:prstGeom>
          <a:noFill/>
          <a:ln w="6350">
            <a:solidFill>
              <a:srgbClr val="969696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38 Rectángulo redondeado"/>
          <p:cNvSpPr/>
          <p:nvPr/>
        </p:nvSpPr>
        <p:spPr bwMode="auto">
          <a:xfrm>
            <a:off x="6883400" y="121055"/>
            <a:ext cx="2133600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83400" y="121055"/>
            <a:ext cx="2260600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Proyección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41" name="Snip Single Corner Rectangle 59"/>
          <p:cNvSpPr>
            <a:spLocks/>
          </p:cNvSpPr>
          <p:nvPr>
            <p:custDataLst>
              <p:tags r:id="rId4"/>
            </p:custDataLst>
          </p:nvPr>
        </p:nvSpPr>
        <p:spPr>
          <a:xfrm rot="10800000">
            <a:off x="6329833" y="1069740"/>
            <a:ext cx="2268066" cy="2062161"/>
          </a:xfrm>
          <a:prstGeom prst="snip1Rect">
            <a:avLst>
              <a:gd name="adj" fmla="val 15832"/>
            </a:avLst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  <p:sp>
        <p:nvSpPr>
          <p:cNvPr id="42" name="Right Arrow 37"/>
          <p:cNvSpPr/>
          <p:nvPr>
            <p:custDataLst>
              <p:tags r:id="rId5"/>
            </p:custDataLst>
          </p:nvPr>
        </p:nvSpPr>
        <p:spPr>
          <a:xfrm>
            <a:off x="5272059" y="2901365"/>
            <a:ext cx="466779" cy="1409523"/>
          </a:xfrm>
          <a:prstGeom prst="rightArrow">
            <a:avLst>
              <a:gd name="adj1" fmla="val 79978"/>
              <a:gd name="adj2" fmla="val 67082"/>
            </a:avLst>
          </a:prstGeom>
          <a:solidFill>
            <a:srgbClr val="C00000"/>
          </a:solidFill>
          <a:ln>
            <a:noFill/>
          </a:ln>
          <a:effectLst>
            <a:outerShdw blurRad="50800" dist="38100" dir="5400000" algn="ctr" rotWithShape="0">
              <a:schemeClr val="tx1">
                <a:alpha val="16000"/>
              </a:schemeClr>
            </a:outerShdw>
          </a:effectLst>
        </p:spPr>
        <p:txBody>
          <a:bodyPr vert="horz" wrap="square" lIns="126000" tIns="91440" rIns="126000" bIns="91440" numCol="1" anchor="ctr" anchorCtr="0" compatLnSpc="1">
            <a:prstTxWarp prst="textNoShape">
              <a:avLst/>
            </a:prstTxWarp>
          </a:bodyPr>
          <a:lstStyle/>
          <a:p>
            <a:endParaRPr lang="es-CO" dirty="0" err="1"/>
          </a:p>
        </p:txBody>
      </p:sp>
      <p:cxnSp>
        <p:nvCxnSpPr>
          <p:cNvPr id="43" name="Straight Connector 38"/>
          <p:cNvCxnSpPr/>
          <p:nvPr>
            <p:custDataLst>
              <p:tags r:id="rId6"/>
            </p:custDataLst>
          </p:nvPr>
        </p:nvCxnSpPr>
        <p:spPr>
          <a:xfrm>
            <a:off x="5272060" y="1523603"/>
            <a:ext cx="0" cy="4165047"/>
          </a:xfrm>
          <a:prstGeom prst="line">
            <a:avLst/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75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AutoShape 2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544786" y="1286942"/>
            <a:ext cx="1824513" cy="15388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95350">
              <a:tabLst>
                <a:tab pos="269875" algn="l"/>
              </a:tabLst>
            </a:pPr>
            <a:r>
              <a:rPr lang="es-CO" sz="2000" b="1" dirty="0" smtClean="0">
                <a:solidFill>
                  <a:schemeClr val="bg1"/>
                </a:solidFill>
                <a:latin typeface="Arial Narrow" pitchFamily="34" charset="0"/>
                <a:ea typeface="+mj-ea"/>
                <a:cs typeface="+mj-cs"/>
              </a:rPr>
              <a:t>Acompañamiento disciplinar en lenguaje y matemáticas en Secundaria</a:t>
            </a:r>
            <a:endParaRPr lang="es-CO" sz="2000" b="1" dirty="0">
              <a:solidFill>
                <a:schemeClr val="bg1"/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45" name="Right Triangle 60"/>
          <p:cNvSpPr/>
          <p:nvPr/>
        </p:nvSpPr>
        <p:spPr>
          <a:xfrm rot="10800000">
            <a:off x="6144705" y="2844726"/>
            <a:ext cx="357851" cy="287175"/>
          </a:xfrm>
          <a:prstGeom prst="rt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126000" tIns="91440" rIns="126000" bIns="91440" numCol="1" anchor="ctr" anchorCtr="0" compatLnSpc="1">
            <a:prstTxWarp prst="textNoShape">
              <a:avLst/>
            </a:prstTxWarp>
          </a:bodyPr>
          <a:lstStyle/>
          <a:p>
            <a:endParaRPr lang="es-CO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9" name="Snip Single Corner Rectangle 59"/>
          <p:cNvSpPr>
            <a:spLocks/>
          </p:cNvSpPr>
          <p:nvPr>
            <p:custDataLst>
              <p:tags r:id="rId8"/>
            </p:custDataLst>
          </p:nvPr>
        </p:nvSpPr>
        <p:spPr>
          <a:xfrm rot="10800000">
            <a:off x="6325702" y="3601015"/>
            <a:ext cx="2268066" cy="2062161"/>
          </a:xfrm>
          <a:prstGeom prst="snip1Rect">
            <a:avLst>
              <a:gd name="adj" fmla="val 15832"/>
            </a:avLst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  <p:sp>
        <p:nvSpPr>
          <p:cNvPr id="50" name="AutoShape 25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540656" y="4125993"/>
            <a:ext cx="1651490" cy="92333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95350">
              <a:tabLst>
                <a:tab pos="269875" algn="l"/>
              </a:tabLst>
            </a:pPr>
            <a:r>
              <a:rPr lang="es-CO" sz="2000" b="1" dirty="0" smtClean="0">
                <a:solidFill>
                  <a:schemeClr val="bg1"/>
                </a:solidFill>
                <a:latin typeface="Arial Narrow" pitchFamily="34" charset="0"/>
                <a:ea typeface="+mj-ea"/>
                <a:cs typeface="+mj-cs"/>
              </a:rPr>
              <a:t>Comunidad de Aprendizaje Institucional</a:t>
            </a:r>
            <a:endParaRPr lang="es-CO" sz="2000" b="1" dirty="0">
              <a:solidFill>
                <a:schemeClr val="bg1"/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51" name="Right Triangle 60"/>
          <p:cNvSpPr/>
          <p:nvPr/>
        </p:nvSpPr>
        <p:spPr>
          <a:xfrm rot="10800000">
            <a:off x="6127874" y="5388701"/>
            <a:ext cx="357851" cy="287175"/>
          </a:xfrm>
          <a:prstGeom prst="rt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126000" tIns="91440" rIns="126000" bIns="91440" numCol="1" anchor="ctr" anchorCtr="0" compatLnSpc="1">
            <a:prstTxWarp prst="textNoShape">
              <a:avLst/>
            </a:prstTxWarp>
          </a:bodyPr>
          <a:lstStyle/>
          <a:p>
            <a:endParaRPr lang="es-CO" dirty="0" err="1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23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889" y="4535531"/>
            <a:ext cx="3063986" cy="2015992"/>
          </a:xfrm>
          <a:prstGeom prst="rect">
            <a:avLst/>
          </a:prstGeom>
          <a:ln/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>
            <a:noAutofit/>
          </a:bodyPr>
          <a:lstStyle>
            <a:lvl1pPr marL="342900" indent="-342900" defTabSz="78740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33350" indent="-131763" defTabSz="78740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301625" indent="-150813" defTabSz="7874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439738" indent="-136525" defTabSz="7874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603250" indent="-142875" defTabSz="7874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060450" indent="-142875" defTabSz="787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517650" indent="-142875" defTabSz="787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1974850" indent="-142875" defTabSz="787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432050" indent="-142875" defTabSz="7874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s-CO" b="1" dirty="0" smtClean="0">
                <a:solidFill>
                  <a:srgbClr val="002060"/>
                </a:solidFill>
                <a:cs typeface="Arial" pitchFamily="34" charset="0"/>
              </a:rPr>
              <a:t>Condiciones básicas</a:t>
            </a:r>
            <a:endParaRPr lang="es-CO" b="1" dirty="0">
              <a:solidFill>
                <a:srgbClr val="002060"/>
              </a:solidFill>
              <a:cs typeface="Arial" pitchFamily="34" charset="0"/>
            </a:endParaRPr>
          </a:p>
          <a:p>
            <a:pPr marL="193675" lvl="1" indent="-192088" defTabSz="895350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>
                <a:cs typeface="Arial" pitchFamily="34" charset="0"/>
              </a:rPr>
              <a:t>A</a:t>
            </a:r>
            <a:r>
              <a:rPr lang="es-CO" sz="1400" dirty="0" smtClean="0">
                <a:cs typeface="Arial" pitchFamily="34" charset="0"/>
              </a:rPr>
              <a:t>lianzas </a:t>
            </a:r>
            <a:r>
              <a:rPr lang="es-CO" sz="1400" dirty="0">
                <a:cs typeface="Arial" pitchFamily="34" charset="0"/>
              </a:rPr>
              <a:t>y movilización de actores en las </a:t>
            </a:r>
            <a:r>
              <a:rPr lang="es-CO" sz="1400" dirty="0" smtClean="0">
                <a:cs typeface="Arial" pitchFamily="34" charset="0"/>
              </a:rPr>
              <a:t>regiones.</a:t>
            </a:r>
          </a:p>
          <a:p>
            <a:pPr marL="193675" lvl="1" indent="-192088" defTabSz="895350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Visión pedagógica </a:t>
            </a:r>
            <a:r>
              <a:rPr lang="es-CO" sz="1400" dirty="0">
                <a:cs typeface="Arial" pitchFamily="34" charset="0"/>
              </a:rPr>
              <a:t>representadas en ambientes y recursos que </a:t>
            </a:r>
            <a:r>
              <a:rPr lang="es-CO" sz="1400" dirty="0" smtClean="0">
                <a:cs typeface="Arial" pitchFamily="34" charset="0"/>
              </a:rPr>
              <a:t>aseguren acceso </a:t>
            </a:r>
            <a:r>
              <a:rPr lang="es-CO" sz="1400" dirty="0">
                <a:cs typeface="Arial" pitchFamily="34" charset="0"/>
              </a:rPr>
              <a:t>y </a:t>
            </a:r>
            <a:r>
              <a:rPr lang="es-CO" sz="1400" dirty="0" smtClean="0">
                <a:cs typeface="Arial" pitchFamily="34" charset="0"/>
              </a:rPr>
              <a:t>permanencia.</a:t>
            </a:r>
          </a:p>
          <a:p>
            <a:pPr marL="193675" lvl="1" indent="-192088" defTabSz="895350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Formación </a:t>
            </a:r>
            <a:r>
              <a:rPr lang="es-CO" sz="1400" dirty="0">
                <a:cs typeface="Arial" pitchFamily="34" charset="0"/>
              </a:rPr>
              <a:t>a los directivos, para empoderarlos en la búsqueda y gestión de recursos </a:t>
            </a:r>
          </a:p>
        </p:txBody>
      </p:sp>
      <p:sp>
        <p:nvSpPr>
          <p:cNvPr id="13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889" y="644275"/>
            <a:ext cx="3063986" cy="2185214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s-CO" b="1" dirty="0" smtClean="0">
                <a:solidFill>
                  <a:srgbClr val="002060"/>
                </a:solidFill>
                <a:cs typeface="Arial" pitchFamily="34" charset="0"/>
              </a:rPr>
              <a:t>Formación Situada</a:t>
            </a:r>
            <a:endParaRPr lang="es-CO" b="1" dirty="0">
              <a:solidFill>
                <a:srgbClr val="002060"/>
              </a:solidFill>
              <a:cs typeface="Arial" pitchFamily="34" charset="0"/>
            </a:endParaRP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Formación en el ámbito disciplinar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>
                <a:cs typeface="Arial" pitchFamily="34" charset="0"/>
              </a:rPr>
              <a:t>C</a:t>
            </a:r>
            <a:r>
              <a:rPr lang="es-CO" sz="1400" dirty="0" smtClean="0">
                <a:cs typeface="Arial" pitchFamily="34" charset="0"/>
              </a:rPr>
              <a:t>omunidades </a:t>
            </a:r>
            <a:r>
              <a:rPr lang="es-CO" sz="1400" dirty="0">
                <a:cs typeface="Arial" pitchFamily="34" charset="0"/>
              </a:rPr>
              <a:t>de </a:t>
            </a:r>
            <a:r>
              <a:rPr lang="es-CO" sz="1400" dirty="0" smtClean="0">
                <a:cs typeface="Arial" pitchFamily="34" charset="0"/>
              </a:rPr>
              <a:t>aprendizaje desde </a:t>
            </a:r>
            <a:r>
              <a:rPr lang="es-CO" sz="1400" dirty="0">
                <a:cs typeface="Arial" pitchFamily="34" charset="0"/>
              </a:rPr>
              <a:t>lo pedagógico, lo disciplinar y la </a:t>
            </a:r>
            <a:r>
              <a:rPr lang="es-CO" sz="1400" dirty="0" smtClean="0">
                <a:cs typeface="Arial" pitchFamily="34" charset="0"/>
              </a:rPr>
              <a:t>gestión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>
                <a:cs typeface="Arial" pitchFamily="34" charset="0"/>
              </a:rPr>
              <a:t>A</a:t>
            </a:r>
            <a:r>
              <a:rPr lang="es-CO" sz="1400" dirty="0" smtClean="0">
                <a:cs typeface="Arial" pitchFamily="34" charset="0"/>
              </a:rPr>
              <a:t>compañamiento </a:t>
            </a:r>
            <a:r>
              <a:rPr lang="es-CO" sz="1400" dirty="0">
                <a:cs typeface="Arial" pitchFamily="34" charset="0"/>
              </a:rPr>
              <a:t>personalizado y </a:t>
            </a:r>
            <a:r>
              <a:rPr lang="es-CO" sz="1400" dirty="0" smtClean="0">
                <a:cs typeface="Arial" pitchFamily="34" charset="0"/>
              </a:rPr>
              <a:t>contextualizado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Sistematización de </a:t>
            </a:r>
            <a:r>
              <a:rPr lang="es-CO" sz="1400" dirty="0">
                <a:cs typeface="Arial" pitchFamily="34" charset="0"/>
              </a:rPr>
              <a:t>la ruta de formación </a:t>
            </a:r>
            <a:endParaRPr lang="es-CO" sz="1400" dirty="0" smtClean="0">
              <a:cs typeface="Arial" pitchFamily="34" charset="0"/>
            </a:endParaRP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>
                <a:cs typeface="Arial" pitchFamily="34" charset="0"/>
              </a:rPr>
              <a:t>M</a:t>
            </a:r>
            <a:r>
              <a:rPr lang="es-CO" sz="1400" dirty="0" smtClean="0">
                <a:cs typeface="Arial" pitchFamily="34" charset="0"/>
              </a:rPr>
              <a:t>etodología </a:t>
            </a:r>
            <a:r>
              <a:rPr lang="es-CO" sz="1400" dirty="0">
                <a:cs typeface="Arial" pitchFamily="34" charset="0"/>
              </a:rPr>
              <a:t>estudio de </a:t>
            </a:r>
            <a:r>
              <a:rPr lang="es-CO" sz="1400" dirty="0" smtClean="0">
                <a:cs typeface="Arial" pitchFamily="34" charset="0"/>
              </a:rPr>
              <a:t>clase</a:t>
            </a:r>
            <a:endParaRPr lang="es-CO" sz="1400" dirty="0">
              <a:cs typeface="Arial" pitchFamily="34" charset="0"/>
            </a:endParaRPr>
          </a:p>
        </p:txBody>
      </p:sp>
      <p:sp>
        <p:nvSpPr>
          <p:cNvPr id="20" name="19 Rectángulo redondeado"/>
          <p:cNvSpPr/>
          <p:nvPr/>
        </p:nvSpPr>
        <p:spPr bwMode="auto">
          <a:xfrm>
            <a:off x="6883400" y="121055"/>
            <a:ext cx="2133600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83400" y="121055"/>
            <a:ext cx="2260600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Proyección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70201" y="2702613"/>
            <a:ext cx="3009862" cy="1969770"/>
          </a:xfrm>
          <a:prstGeom prst="rect">
            <a:avLst/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s-CO" b="1" dirty="0" smtClean="0">
                <a:solidFill>
                  <a:srgbClr val="002060"/>
                </a:solidFill>
                <a:cs typeface="Arial" pitchFamily="34" charset="0"/>
              </a:rPr>
              <a:t>Componente</a:t>
            </a:r>
            <a:r>
              <a:rPr lang="es-CO" b="1" dirty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es-CO" b="1" dirty="0" smtClean="0">
                <a:solidFill>
                  <a:srgbClr val="002060"/>
                </a:solidFill>
                <a:cs typeface="Arial" pitchFamily="34" charset="0"/>
              </a:rPr>
              <a:t>Pedagógico</a:t>
            </a:r>
            <a:endParaRPr lang="es-CO" b="1" dirty="0">
              <a:solidFill>
                <a:srgbClr val="002060"/>
              </a:solidFill>
              <a:cs typeface="Arial" pitchFamily="34" charset="0"/>
            </a:endParaRP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Orientaciones </a:t>
            </a:r>
            <a:r>
              <a:rPr lang="es-CO" sz="1400" dirty="0">
                <a:cs typeface="Arial" pitchFamily="34" charset="0"/>
              </a:rPr>
              <a:t>y </a:t>
            </a:r>
            <a:r>
              <a:rPr lang="es-CO" sz="1400" dirty="0" smtClean="0">
                <a:cs typeface="Arial" pitchFamily="34" charset="0"/>
              </a:rPr>
              <a:t>lineamientos acordes a los referentes de calidad </a:t>
            </a:r>
            <a:endParaRPr lang="es-CO" sz="1400" dirty="0">
              <a:cs typeface="Arial" pitchFamily="34" charset="0"/>
            </a:endParaRP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Sistematización de  Practicas significativas</a:t>
            </a:r>
            <a:r>
              <a:rPr lang="es-CO" sz="1400" b="0" dirty="0" smtClean="0">
                <a:cs typeface="Arial" pitchFamily="34" charset="0"/>
              </a:rPr>
              <a:t> 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pt-BR" sz="1400" dirty="0" smtClean="0">
                <a:cs typeface="Arial" pitchFamily="34" charset="0"/>
              </a:rPr>
              <a:t>Recursos </a:t>
            </a:r>
            <a:r>
              <a:rPr lang="pt-BR" sz="1400" dirty="0">
                <a:cs typeface="Arial" pitchFamily="34" charset="0"/>
              </a:rPr>
              <a:t>educativos significativos e </a:t>
            </a:r>
            <a:r>
              <a:rPr lang="pt-BR" sz="1400" dirty="0" smtClean="0">
                <a:cs typeface="Arial" pitchFamily="34" charset="0"/>
              </a:rPr>
              <a:t>inovadores 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b="1" dirty="0" smtClean="0">
                <a:cs typeface="Arial" pitchFamily="34" charset="0"/>
              </a:rPr>
              <a:t>Trasciende </a:t>
            </a:r>
            <a:r>
              <a:rPr lang="es-CO" sz="1400" b="1" dirty="0">
                <a:cs typeface="Arial" pitchFamily="34" charset="0"/>
              </a:rPr>
              <a:t>a  todos los componentes</a:t>
            </a:r>
          </a:p>
        </p:txBody>
      </p:sp>
      <p:sp>
        <p:nvSpPr>
          <p:cNvPr id="15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80062" y="770631"/>
            <a:ext cx="3205374" cy="2185214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/>
            <a:r>
              <a:rPr lang="es-CO" b="1" dirty="0">
                <a:solidFill>
                  <a:srgbClr val="002060"/>
                </a:solidFill>
                <a:cs typeface="Arial" pitchFamily="34" charset="0"/>
              </a:rPr>
              <a:t>Gestión </a:t>
            </a:r>
            <a:r>
              <a:rPr lang="es-CO" b="1" dirty="0" smtClean="0">
                <a:solidFill>
                  <a:srgbClr val="002060"/>
                </a:solidFill>
                <a:cs typeface="Arial" pitchFamily="34" charset="0"/>
              </a:rPr>
              <a:t>Educativa</a:t>
            </a:r>
            <a:endParaRPr lang="es-CO" b="1" dirty="0">
              <a:solidFill>
                <a:srgbClr val="002060"/>
              </a:solidFill>
              <a:cs typeface="Arial" pitchFamily="34" charset="0"/>
            </a:endParaRP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Procesos de </a:t>
            </a:r>
            <a:r>
              <a:rPr lang="es-CO" sz="1400" dirty="0">
                <a:cs typeface="Arial" pitchFamily="34" charset="0"/>
              </a:rPr>
              <a:t>capacitación y formación de los directivos </a:t>
            </a:r>
            <a:r>
              <a:rPr lang="es-CO" sz="1400" dirty="0" smtClean="0">
                <a:cs typeface="Arial" pitchFamily="34" charset="0"/>
              </a:rPr>
              <a:t>docentes.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Empoderamiento de  </a:t>
            </a:r>
            <a:r>
              <a:rPr lang="es-CO" sz="1400" dirty="0">
                <a:cs typeface="Arial" pitchFamily="34" charset="0"/>
              </a:rPr>
              <a:t>la comunidad </a:t>
            </a:r>
            <a:r>
              <a:rPr lang="es-CO" sz="1400" dirty="0" smtClean="0">
                <a:cs typeface="Arial" pitchFamily="34" charset="0"/>
              </a:rPr>
              <a:t>educativa (Consejos </a:t>
            </a:r>
            <a:r>
              <a:rPr lang="es-CO" sz="1400" dirty="0">
                <a:cs typeface="Arial" pitchFamily="34" charset="0"/>
              </a:rPr>
              <a:t>directivo, de padres, de estudiantes y </a:t>
            </a:r>
            <a:r>
              <a:rPr lang="es-CO" sz="1400" dirty="0" smtClean="0">
                <a:cs typeface="Arial" pitchFamily="34" charset="0"/>
              </a:rPr>
              <a:t>académico)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Sistematizar </a:t>
            </a:r>
            <a:r>
              <a:rPr lang="es-CO" sz="1400" dirty="0">
                <a:cs typeface="Arial" pitchFamily="34" charset="0"/>
              </a:rPr>
              <a:t>prácticas significativas en la gestión escolar </a:t>
            </a:r>
            <a:endParaRPr lang="es-CO" sz="1400" dirty="0" smtClean="0">
              <a:cs typeface="Arial" pitchFamily="34" charset="0"/>
            </a:endParaRP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Trabajo articulado con las Secretarias </a:t>
            </a:r>
            <a:r>
              <a:rPr lang="es-CO" sz="1400" dirty="0">
                <a:cs typeface="Arial" pitchFamily="34" charset="0"/>
              </a:rPr>
              <a:t>de educación</a:t>
            </a:r>
          </a:p>
        </p:txBody>
      </p:sp>
      <p:sp>
        <p:nvSpPr>
          <p:cNvPr id="11" name="Rectangle 6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86875" y="4599031"/>
            <a:ext cx="3230125" cy="1754326"/>
          </a:xfrm>
          <a:prstGeom prst="rect">
            <a:avLst/>
          </a:prstGeom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CO" b="1" dirty="0" smtClean="0">
                <a:solidFill>
                  <a:srgbClr val="002060"/>
                </a:solidFill>
                <a:cs typeface="Arial" pitchFamily="34" charset="0"/>
              </a:rPr>
              <a:t>Componente de Comunicaciones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Compromiso </a:t>
            </a:r>
            <a:r>
              <a:rPr lang="es-CO" sz="1400" dirty="0">
                <a:cs typeface="Arial" pitchFamily="34" charset="0"/>
              </a:rPr>
              <a:t>social para la </a:t>
            </a:r>
            <a:r>
              <a:rPr lang="es-CO" sz="1400" dirty="0" smtClean="0">
                <a:cs typeface="Arial" pitchFamily="34" charset="0"/>
              </a:rPr>
              <a:t>calidad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Dinamizar </a:t>
            </a:r>
            <a:r>
              <a:rPr lang="es-CO" sz="1400" dirty="0">
                <a:cs typeface="Arial" pitchFamily="34" charset="0"/>
              </a:rPr>
              <a:t>las redes de </a:t>
            </a:r>
            <a:r>
              <a:rPr lang="es-CO" sz="1400" dirty="0" smtClean="0">
                <a:cs typeface="Arial" pitchFamily="34" charset="0"/>
              </a:rPr>
              <a:t>información, particularmente </a:t>
            </a:r>
            <a:r>
              <a:rPr lang="es-CO" sz="1400" dirty="0">
                <a:cs typeface="Arial" pitchFamily="34" charset="0"/>
              </a:rPr>
              <a:t>frente a las </a:t>
            </a:r>
            <a:r>
              <a:rPr lang="es-CO" sz="1400" dirty="0" smtClean="0">
                <a:cs typeface="Arial" pitchFamily="34" charset="0"/>
              </a:rPr>
              <a:t>familias.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Ferias </a:t>
            </a:r>
            <a:r>
              <a:rPr lang="es-CO" sz="1400" dirty="0">
                <a:cs typeface="Arial" pitchFamily="34" charset="0"/>
              </a:rPr>
              <a:t>Regionales de </a:t>
            </a:r>
            <a:r>
              <a:rPr lang="es-CO" sz="1400" dirty="0" smtClean="0">
                <a:cs typeface="Arial" pitchFamily="34" charset="0"/>
              </a:rPr>
              <a:t>Conocimiento.</a:t>
            </a:r>
          </a:p>
          <a:p>
            <a:pPr lvl="1" eaLnBrk="1" hangingPunct="1">
              <a:buClr>
                <a:srgbClr val="002060"/>
              </a:buClr>
              <a:buFont typeface="Arial" pitchFamily="34" charset="0"/>
              <a:buChar char="•"/>
            </a:pPr>
            <a:r>
              <a:rPr lang="es-CO" sz="1400" dirty="0" smtClean="0">
                <a:cs typeface="Arial" pitchFamily="34" charset="0"/>
              </a:rPr>
              <a:t>Generar empoderamiento </a:t>
            </a:r>
            <a:r>
              <a:rPr lang="es-CO" sz="1400" dirty="0">
                <a:cs typeface="Arial" pitchFamily="34" charset="0"/>
              </a:rPr>
              <a:t>de Instituciones y Secretarías de Educación</a:t>
            </a:r>
          </a:p>
        </p:txBody>
      </p:sp>
    </p:spTree>
    <p:extLst>
      <p:ext uri="{BB962C8B-B14F-4D97-AF65-F5344CB8AC3E}">
        <p14:creationId xmlns:p14="http://schemas.microsoft.com/office/powerpoint/2010/main" val="2781782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57200" y="3625600"/>
            <a:ext cx="6341432" cy="1143000"/>
          </a:xfrm>
        </p:spPr>
        <p:txBody>
          <a:bodyPr>
            <a:normAutofit fontScale="90000"/>
          </a:bodyPr>
          <a:lstStyle/>
          <a:p>
            <a:r>
              <a:rPr lang="es-ES" sz="60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¿cómo se materializa la propuesta?</a:t>
            </a:r>
            <a:endParaRPr lang="es-ES" sz="6000" b="1" dirty="0">
              <a:solidFill>
                <a:schemeClr val="bg1"/>
              </a:solidFill>
              <a:latin typeface="Century Gothic" panose="020B0502020202020204" pitchFamily="34" charset="0"/>
              <a:cs typeface="Arial"/>
            </a:endParaRPr>
          </a:p>
        </p:txBody>
      </p:sp>
      <p:pic>
        <p:nvPicPr>
          <p:cNvPr id="1026" name="Picture 2" descr="http://www.mineducacion.gov.co/1621/articles-311774_foto_portada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662766"/>
            <a:ext cx="6941127" cy="1315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5051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970902297"/>
              </p:ext>
            </p:extLst>
          </p:nvPr>
        </p:nvGraphicFramePr>
        <p:xfrm>
          <a:off x="419100" y="1035050"/>
          <a:ext cx="8534400" cy="4737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1648691" y="538305"/>
            <a:ext cx="61929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 smtClean="0">
                <a:latin typeface="Century Gothic" panose="020B0502020202020204" pitchFamily="34" charset="0"/>
              </a:rPr>
              <a:t>1. PLANTA DE TUTORES</a:t>
            </a:r>
            <a:endParaRPr lang="es-CO" sz="32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31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>
            <a:hlinkClick r:id="rId2" action="ppaction://hlinkfile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222" y="5517036"/>
            <a:ext cx="1089626" cy="853683"/>
          </a:xfrm>
          <a:prstGeom prst="rect">
            <a:avLst/>
          </a:prstGeom>
        </p:spPr>
      </p:pic>
      <p:sp>
        <p:nvSpPr>
          <p:cNvPr id="4" name="3 Rectángulo redondeado"/>
          <p:cNvSpPr/>
          <p:nvPr/>
        </p:nvSpPr>
        <p:spPr bwMode="auto">
          <a:xfrm>
            <a:off x="1508606" y="648706"/>
            <a:ext cx="6083877" cy="626938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s-CO" sz="2200" b="1" dirty="0" smtClean="0"/>
              <a:t>Video experiencia Uruguay  Condiciones básicas</a:t>
            </a:r>
            <a:endParaRPr lang="es-CO" sz="2200" b="1" dirty="0"/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57" y="1473490"/>
            <a:ext cx="7749065" cy="41684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095708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1800221" y="2917371"/>
            <a:ext cx="54859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5400" b="1" dirty="0" smtClean="0">
                <a:latin typeface="Century Gothic" panose="020B0502020202020204" pitchFamily="34" charset="0"/>
              </a:rPr>
              <a:t>GRACIAS</a:t>
            </a:r>
            <a:endParaRPr lang="es-CO" sz="5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80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/>
          <p:nvPr/>
        </p:nvSpPr>
        <p:spPr>
          <a:xfrm>
            <a:off x="5857214" y="1129966"/>
            <a:ext cx="2723894" cy="1247686"/>
          </a:xfrm>
          <a:prstGeom prst="rect">
            <a:avLst/>
          </a:prstGeom>
          <a:solidFill>
            <a:srgbClr val="EEEE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7" name="Isosceles Triangle 8"/>
          <p:cNvSpPr/>
          <p:nvPr/>
        </p:nvSpPr>
        <p:spPr>
          <a:xfrm rot="16200000">
            <a:off x="5677056" y="1760753"/>
            <a:ext cx="193503" cy="166813"/>
          </a:xfrm>
          <a:prstGeom prst="triangle">
            <a:avLst/>
          </a:prstGeom>
          <a:solidFill>
            <a:srgbClr val="EEEE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  <p:sp>
        <p:nvSpPr>
          <p:cNvPr id="9" name="Rectangle 32"/>
          <p:cNvSpPr/>
          <p:nvPr>
            <p:custDataLst>
              <p:tags r:id="rId1"/>
            </p:custDataLst>
          </p:nvPr>
        </p:nvSpPr>
        <p:spPr>
          <a:xfrm>
            <a:off x="5857214" y="2394173"/>
            <a:ext cx="2723894" cy="73829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10" name="Rectangle 33"/>
          <p:cNvSpPr/>
          <p:nvPr/>
        </p:nvSpPr>
        <p:spPr>
          <a:xfrm>
            <a:off x="5857214" y="4044614"/>
            <a:ext cx="2723894" cy="1247686"/>
          </a:xfrm>
          <a:prstGeom prst="rect">
            <a:avLst/>
          </a:prstGeom>
          <a:solidFill>
            <a:srgbClr val="EEEE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11" name="Isosceles Triangle 34"/>
          <p:cNvSpPr/>
          <p:nvPr>
            <p:custDataLst>
              <p:tags r:id="rId2"/>
            </p:custDataLst>
          </p:nvPr>
        </p:nvSpPr>
        <p:spPr>
          <a:xfrm rot="16200000">
            <a:off x="5677056" y="4759077"/>
            <a:ext cx="193503" cy="166813"/>
          </a:xfrm>
          <a:prstGeom prst="triangle">
            <a:avLst/>
          </a:prstGeom>
          <a:solidFill>
            <a:srgbClr val="EEEE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  <p:sp>
        <p:nvSpPr>
          <p:cNvPr id="12" name="Rectangle 3"/>
          <p:cNvSpPr txBox="1"/>
          <p:nvPr>
            <p:custDataLst>
              <p:tags r:id="rId3"/>
            </p:custDataLst>
          </p:nvPr>
        </p:nvSpPr>
        <p:spPr>
          <a:xfrm>
            <a:off x="6008415" y="5299683"/>
            <a:ext cx="23760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Cierre de brechas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13" name="Rectangle 36"/>
          <p:cNvSpPr/>
          <p:nvPr>
            <p:custDataLst>
              <p:tags r:id="rId4"/>
            </p:custDataLst>
          </p:nvPr>
        </p:nvSpPr>
        <p:spPr>
          <a:xfrm>
            <a:off x="5857214" y="5607860"/>
            <a:ext cx="2723894" cy="73829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rgbClr val="FF0000"/>
              </a:solidFill>
            </a:endParaRPr>
          </a:p>
        </p:txBody>
      </p:sp>
      <p:grpSp>
        <p:nvGrpSpPr>
          <p:cNvPr id="14" name="Group 13"/>
          <p:cNvGrpSpPr/>
          <p:nvPr>
            <p:custDataLst>
              <p:tags r:id="rId5"/>
            </p:custDataLst>
          </p:nvPr>
        </p:nvGrpSpPr>
        <p:grpSpPr>
          <a:xfrm>
            <a:off x="771027" y="1141730"/>
            <a:ext cx="757238" cy="956716"/>
            <a:chOff x="236403" y="1586230"/>
            <a:chExt cx="757238" cy="956716"/>
          </a:xfrm>
        </p:grpSpPr>
        <p:sp>
          <p:nvSpPr>
            <p:cNvPr id="15" name="Oval 1"/>
            <p:cNvSpPr/>
            <p:nvPr/>
          </p:nvSpPr>
          <p:spPr>
            <a:xfrm>
              <a:off x="427697" y="1586230"/>
              <a:ext cx="374650" cy="374650"/>
            </a:xfrm>
            <a:prstGeom prst="ellipse">
              <a:avLst/>
            </a:prstGeom>
            <a:gradFill>
              <a:gsLst>
                <a:gs pos="100000">
                  <a:srgbClr val="C9C9C9"/>
                </a:gs>
                <a:gs pos="48000">
                  <a:srgbClr val="E8E8E8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 err="1">
                <a:solidFill>
                  <a:schemeClr val="tx1"/>
                </a:solidFill>
              </a:endParaRPr>
            </a:p>
          </p:txBody>
        </p:sp>
        <p:sp>
          <p:nvSpPr>
            <p:cNvPr id="16" name="Freeform 5"/>
            <p:cNvSpPr/>
            <p:nvPr/>
          </p:nvSpPr>
          <p:spPr>
            <a:xfrm>
              <a:off x="236403" y="2004985"/>
              <a:ext cx="757238" cy="495327"/>
            </a:xfrm>
            <a:custGeom>
              <a:avLst/>
              <a:gdLst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275 h 495300"/>
                <a:gd name="connsiteX1" fmla="*/ 357188 w 757238"/>
                <a:gd name="connsiteY1" fmla="*/ 0 h 495300"/>
                <a:gd name="connsiteX2" fmla="*/ 757238 w 757238"/>
                <a:gd name="connsiteY2" fmla="*/ 309562 h 495300"/>
                <a:gd name="connsiteX3" fmla="*/ 338138 w 757238"/>
                <a:gd name="connsiteY3" fmla="*/ 495300 h 495300"/>
                <a:gd name="connsiteX4" fmla="*/ 0 w 757238"/>
                <a:gd name="connsiteY4" fmla="*/ 295275 h 495300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  <a:gd name="connsiteX0" fmla="*/ 0 w 757238"/>
                <a:gd name="connsiteY0" fmla="*/ 295302 h 495327"/>
                <a:gd name="connsiteX1" fmla="*/ 357188 w 757238"/>
                <a:gd name="connsiteY1" fmla="*/ 27 h 495327"/>
                <a:gd name="connsiteX2" fmla="*/ 757238 w 757238"/>
                <a:gd name="connsiteY2" fmla="*/ 309589 h 495327"/>
                <a:gd name="connsiteX3" fmla="*/ 338138 w 757238"/>
                <a:gd name="connsiteY3" fmla="*/ 495327 h 495327"/>
                <a:gd name="connsiteX4" fmla="*/ 0 w 757238"/>
                <a:gd name="connsiteY4" fmla="*/ 295302 h 49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7238" h="495327">
                  <a:moveTo>
                    <a:pt x="0" y="295302"/>
                  </a:moveTo>
                  <a:cubicBezTo>
                    <a:pt x="26988" y="228627"/>
                    <a:pt x="114300" y="3202"/>
                    <a:pt x="357188" y="27"/>
                  </a:cubicBezTo>
                  <a:cubicBezTo>
                    <a:pt x="600076" y="-3148"/>
                    <a:pt x="744538" y="269902"/>
                    <a:pt x="757238" y="309589"/>
                  </a:cubicBezTo>
                  <a:cubicBezTo>
                    <a:pt x="668338" y="415952"/>
                    <a:pt x="582613" y="481039"/>
                    <a:pt x="338138" y="495327"/>
                  </a:cubicBezTo>
                  <a:cubicBezTo>
                    <a:pt x="158750" y="476277"/>
                    <a:pt x="39688" y="381027"/>
                    <a:pt x="0" y="295302"/>
                  </a:cubicBezTo>
                  <a:close/>
                </a:path>
              </a:pathLst>
            </a:custGeom>
            <a:gradFill>
              <a:gsLst>
                <a:gs pos="0">
                  <a:srgbClr val="C9C9C9"/>
                </a:gs>
                <a:gs pos="48000">
                  <a:srgbClr val="E8E8E8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 err="1">
                <a:solidFill>
                  <a:schemeClr val="tx1"/>
                </a:solidFill>
              </a:endParaRPr>
            </a:p>
          </p:txBody>
        </p:sp>
        <p:pic>
          <p:nvPicPr>
            <p:cNvPr id="17" name="Picture 10"/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9459" y="2276157"/>
              <a:ext cx="571126" cy="266789"/>
            </a:xfrm>
            <a:prstGeom prst="rect">
              <a:avLst/>
            </a:prstGeom>
          </p:spPr>
        </p:pic>
      </p:grpSp>
      <p:grpSp>
        <p:nvGrpSpPr>
          <p:cNvPr id="18" name="Group 127"/>
          <p:cNvGrpSpPr/>
          <p:nvPr>
            <p:custDataLst>
              <p:tags r:id="rId6"/>
            </p:custDataLst>
          </p:nvPr>
        </p:nvGrpSpPr>
        <p:grpSpPr>
          <a:xfrm>
            <a:off x="268093" y="2725575"/>
            <a:ext cx="1763107" cy="654330"/>
            <a:chOff x="571500" y="3111683"/>
            <a:chExt cx="1763107" cy="654330"/>
          </a:xfrm>
        </p:grpSpPr>
        <p:grpSp>
          <p:nvGrpSpPr>
            <p:cNvPr id="19" name="Group 62"/>
            <p:cNvGrpSpPr/>
            <p:nvPr/>
          </p:nvGrpSpPr>
          <p:grpSpPr>
            <a:xfrm>
              <a:off x="571500" y="3111683"/>
              <a:ext cx="517900" cy="654330"/>
              <a:chOff x="236403" y="1586230"/>
              <a:chExt cx="757238" cy="956716"/>
            </a:xfrm>
          </p:grpSpPr>
          <p:sp>
            <p:nvSpPr>
              <p:cNvPr id="28" name="Oval 63"/>
              <p:cNvSpPr/>
              <p:nvPr/>
            </p:nvSpPr>
            <p:spPr>
              <a:xfrm>
                <a:off x="427697" y="1586230"/>
                <a:ext cx="374650" cy="374650"/>
              </a:xfrm>
              <a:prstGeom prst="ellipse">
                <a:avLst/>
              </a:prstGeom>
              <a:gradFill>
                <a:gsLst>
                  <a:gs pos="10000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reeform 64"/>
              <p:cNvSpPr/>
              <p:nvPr/>
            </p:nvSpPr>
            <p:spPr>
              <a:xfrm>
                <a:off x="236403" y="2004985"/>
                <a:ext cx="757238" cy="495327"/>
              </a:xfrm>
              <a:custGeom>
                <a:avLst/>
                <a:gdLst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238" h="495327">
                    <a:moveTo>
                      <a:pt x="0" y="295302"/>
                    </a:moveTo>
                    <a:cubicBezTo>
                      <a:pt x="26988" y="228627"/>
                      <a:pt x="114300" y="3202"/>
                      <a:pt x="357188" y="27"/>
                    </a:cubicBezTo>
                    <a:cubicBezTo>
                      <a:pt x="600076" y="-3148"/>
                      <a:pt x="744538" y="269902"/>
                      <a:pt x="757238" y="309589"/>
                    </a:cubicBezTo>
                    <a:cubicBezTo>
                      <a:pt x="668338" y="415952"/>
                      <a:pt x="582613" y="481039"/>
                      <a:pt x="338138" y="495327"/>
                    </a:cubicBezTo>
                    <a:cubicBezTo>
                      <a:pt x="158750" y="476277"/>
                      <a:pt x="39688" y="381027"/>
                      <a:pt x="0" y="295302"/>
                    </a:cubicBezTo>
                    <a:close/>
                  </a:path>
                </a:pathLst>
              </a:custGeom>
              <a:gradFill>
                <a:gsLst>
                  <a:gs pos="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0" name="Picture 65"/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459" y="2276157"/>
                <a:ext cx="571126" cy="266789"/>
              </a:xfrm>
              <a:prstGeom prst="rect">
                <a:avLst/>
              </a:prstGeom>
            </p:spPr>
          </p:pic>
        </p:grpSp>
        <p:grpSp>
          <p:nvGrpSpPr>
            <p:cNvPr id="20" name="Group 66"/>
            <p:cNvGrpSpPr/>
            <p:nvPr/>
          </p:nvGrpSpPr>
          <p:grpSpPr>
            <a:xfrm>
              <a:off x="1194103" y="3111683"/>
              <a:ext cx="517900" cy="654330"/>
              <a:chOff x="236403" y="1586230"/>
              <a:chExt cx="757238" cy="956716"/>
            </a:xfrm>
          </p:grpSpPr>
          <p:sp>
            <p:nvSpPr>
              <p:cNvPr id="25" name="Oval 67"/>
              <p:cNvSpPr/>
              <p:nvPr/>
            </p:nvSpPr>
            <p:spPr>
              <a:xfrm>
                <a:off x="427697" y="1586230"/>
                <a:ext cx="374650" cy="374650"/>
              </a:xfrm>
              <a:prstGeom prst="ellipse">
                <a:avLst/>
              </a:prstGeom>
              <a:gradFill>
                <a:gsLst>
                  <a:gs pos="10000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Freeform 68"/>
              <p:cNvSpPr/>
              <p:nvPr/>
            </p:nvSpPr>
            <p:spPr>
              <a:xfrm>
                <a:off x="236403" y="2004985"/>
                <a:ext cx="757238" cy="495327"/>
              </a:xfrm>
              <a:custGeom>
                <a:avLst/>
                <a:gdLst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238" h="495327">
                    <a:moveTo>
                      <a:pt x="0" y="295302"/>
                    </a:moveTo>
                    <a:cubicBezTo>
                      <a:pt x="26988" y="228627"/>
                      <a:pt x="114300" y="3202"/>
                      <a:pt x="357188" y="27"/>
                    </a:cubicBezTo>
                    <a:cubicBezTo>
                      <a:pt x="600076" y="-3148"/>
                      <a:pt x="744538" y="269902"/>
                      <a:pt x="757238" y="309589"/>
                    </a:cubicBezTo>
                    <a:cubicBezTo>
                      <a:pt x="668338" y="415952"/>
                      <a:pt x="582613" y="481039"/>
                      <a:pt x="338138" y="495327"/>
                    </a:cubicBezTo>
                    <a:cubicBezTo>
                      <a:pt x="158750" y="476277"/>
                      <a:pt x="39688" y="381027"/>
                      <a:pt x="0" y="295302"/>
                    </a:cubicBezTo>
                    <a:close/>
                  </a:path>
                </a:pathLst>
              </a:custGeom>
              <a:gradFill>
                <a:gsLst>
                  <a:gs pos="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7" name="Picture 69"/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459" y="2276157"/>
                <a:ext cx="571126" cy="266789"/>
              </a:xfrm>
              <a:prstGeom prst="rect">
                <a:avLst/>
              </a:prstGeom>
            </p:spPr>
          </p:pic>
        </p:grpSp>
        <p:grpSp>
          <p:nvGrpSpPr>
            <p:cNvPr id="21" name="Group 70"/>
            <p:cNvGrpSpPr/>
            <p:nvPr/>
          </p:nvGrpSpPr>
          <p:grpSpPr>
            <a:xfrm>
              <a:off x="1816707" y="3111683"/>
              <a:ext cx="517900" cy="654330"/>
              <a:chOff x="236403" y="1586230"/>
              <a:chExt cx="757238" cy="956716"/>
            </a:xfrm>
          </p:grpSpPr>
          <p:sp>
            <p:nvSpPr>
              <p:cNvPr id="22" name="Oval 71"/>
              <p:cNvSpPr/>
              <p:nvPr/>
            </p:nvSpPr>
            <p:spPr>
              <a:xfrm>
                <a:off x="427697" y="1586230"/>
                <a:ext cx="374650" cy="374650"/>
              </a:xfrm>
              <a:prstGeom prst="ellipse">
                <a:avLst/>
              </a:prstGeom>
              <a:gradFill>
                <a:gsLst>
                  <a:gs pos="10000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Freeform 72"/>
              <p:cNvSpPr/>
              <p:nvPr/>
            </p:nvSpPr>
            <p:spPr>
              <a:xfrm>
                <a:off x="236403" y="2004985"/>
                <a:ext cx="757238" cy="495327"/>
              </a:xfrm>
              <a:custGeom>
                <a:avLst/>
                <a:gdLst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275 h 495300"/>
                  <a:gd name="connsiteX1" fmla="*/ 357188 w 757238"/>
                  <a:gd name="connsiteY1" fmla="*/ 0 h 495300"/>
                  <a:gd name="connsiteX2" fmla="*/ 757238 w 757238"/>
                  <a:gd name="connsiteY2" fmla="*/ 309562 h 495300"/>
                  <a:gd name="connsiteX3" fmla="*/ 338138 w 757238"/>
                  <a:gd name="connsiteY3" fmla="*/ 495300 h 495300"/>
                  <a:gd name="connsiteX4" fmla="*/ 0 w 757238"/>
                  <a:gd name="connsiteY4" fmla="*/ 295275 h 495300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  <a:gd name="connsiteX0" fmla="*/ 0 w 757238"/>
                  <a:gd name="connsiteY0" fmla="*/ 295302 h 495327"/>
                  <a:gd name="connsiteX1" fmla="*/ 357188 w 757238"/>
                  <a:gd name="connsiteY1" fmla="*/ 27 h 495327"/>
                  <a:gd name="connsiteX2" fmla="*/ 757238 w 757238"/>
                  <a:gd name="connsiteY2" fmla="*/ 309589 h 495327"/>
                  <a:gd name="connsiteX3" fmla="*/ 338138 w 757238"/>
                  <a:gd name="connsiteY3" fmla="*/ 495327 h 495327"/>
                  <a:gd name="connsiteX4" fmla="*/ 0 w 757238"/>
                  <a:gd name="connsiteY4" fmla="*/ 295302 h 495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7238" h="495327">
                    <a:moveTo>
                      <a:pt x="0" y="295302"/>
                    </a:moveTo>
                    <a:cubicBezTo>
                      <a:pt x="26988" y="228627"/>
                      <a:pt x="114300" y="3202"/>
                      <a:pt x="357188" y="27"/>
                    </a:cubicBezTo>
                    <a:cubicBezTo>
                      <a:pt x="600076" y="-3148"/>
                      <a:pt x="744538" y="269902"/>
                      <a:pt x="757238" y="309589"/>
                    </a:cubicBezTo>
                    <a:cubicBezTo>
                      <a:pt x="668338" y="415952"/>
                      <a:pt x="582613" y="481039"/>
                      <a:pt x="338138" y="495327"/>
                    </a:cubicBezTo>
                    <a:cubicBezTo>
                      <a:pt x="158750" y="476277"/>
                      <a:pt x="39688" y="381027"/>
                      <a:pt x="0" y="295302"/>
                    </a:cubicBezTo>
                    <a:close/>
                  </a:path>
                </a:pathLst>
              </a:custGeom>
              <a:gradFill>
                <a:gsLst>
                  <a:gs pos="0">
                    <a:srgbClr val="C9C9C9"/>
                  </a:gs>
                  <a:gs pos="48000">
                    <a:srgbClr val="E8E8E8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4" name="Picture 73"/>
              <p:cNvPicPr>
                <a:picLocks noChangeAspect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9459" y="2276157"/>
                <a:ext cx="571126" cy="266789"/>
              </a:xfrm>
              <a:prstGeom prst="rect">
                <a:avLst/>
              </a:prstGeom>
            </p:spPr>
          </p:pic>
        </p:grpSp>
      </p:grpSp>
      <p:grpSp>
        <p:nvGrpSpPr>
          <p:cNvPr id="31" name="Group 15"/>
          <p:cNvGrpSpPr/>
          <p:nvPr>
            <p:custDataLst>
              <p:tags r:id="rId7"/>
            </p:custDataLst>
          </p:nvPr>
        </p:nvGrpSpPr>
        <p:grpSpPr>
          <a:xfrm>
            <a:off x="194279" y="4275123"/>
            <a:ext cx="1910734" cy="821989"/>
            <a:chOff x="524955" y="4425979"/>
            <a:chExt cx="1910734" cy="821989"/>
          </a:xfrm>
        </p:grpSpPr>
        <p:grpSp>
          <p:nvGrpSpPr>
            <p:cNvPr id="32" name="Group 14"/>
            <p:cNvGrpSpPr/>
            <p:nvPr/>
          </p:nvGrpSpPr>
          <p:grpSpPr>
            <a:xfrm>
              <a:off x="524955" y="4425979"/>
              <a:ext cx="1910734" cy="346881"/>
              <a:chOff x="524955" y="4425979"/>
              <a:chExt cx="1910734" cy="346881"/>
            </a:xfrm>
          </p:grpSpPr>
          <p:grpSp>
            <p:nvGrpSpPr>
              <p:cNvPr id="58" name="Group 74"/>
              <p:cNvGrpSpPr/>
              <p:nvPr/>
            </p:nvGrpSpPr>
            <p:grpSpPr>
              <a:xfrm>
                <a:off x="524955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79" name="Oval 75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0" name="Freeform 76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81" name="Picture 77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59" name="Group 82"/>
              <p:cNvGrpSpPr/>
              <p:nvPr/>
            </p:nvGrpSpPr>
            <p:grpSpPr>
              <a:xfrm>
                <a:off x="852191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76" name="Oval 83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7" name="Freeform 84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78" name="Picture 85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60" name="Group 86"/>
              <p:cNvGrpSpPr/>
              <p:nvPr/>
            </p:nvGrpSpPr>
            <p:grpSpPr>
              <a:xfrm>
                <a:off x="1179427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73" name="Oval 87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Freeform 88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75" name="Picture 89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61" name="Group 90"/>
              <p:cNvGrpSpPr/>
              <p:nvPr/>
            </p:nvGrpSpPr>
            <p:grpSpPr>
              <a:xfrm>
                <a:off x="1506663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70" name="Oval 91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1" name="Freeform 92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72" name="Picture 93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62" name="Group 94"/>
              <p:cNvGrpSpPr/>
              <p:nvPr/>
            </p:nvGrpSpPr>
            <p:grpSpPr>
              <a:xfrm>
                <a:off x="1833899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67" name="Oval 95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" name="Freeform 96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69" name="Picture 97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63" name="Group 98"/>
              <p:cNvGrpSpPr/>
              <p:nvPr/>
            </p:nvGrpSpPr>
            <p:grpSpPr>
              <a:xfrm>
                <a:off x="2161134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64" name="Oval 99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5" name="Freeform 100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66" name="Picture 101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3" name="Group 102"/>
            <p:cNvGrpSpPr/>
            <p:nvPr/>
          </p:nvGrpSpPr>
          <p:grpSpPr>
            <a:xfrm>
              <a:off x="524955" y="4901087"/>
              <a:ext cx="1910734" cy="346881"/>
              <a:chOff x="524955" y="4425979"/>
              <a:chExt cx="1910734" cy="346881"/>
            </a:xfrm>
          </p:grpSpPr>
          <p:grpSp>
            <p:nvGrpSpPr>
              <p:cNvPr id="34" name="Group 103"/>
              <p:cNvGrpSpPr/>
              <p:nvPr/>
            </p:nvGrpSpPr>
            <p:grpSpPr>
              <a:xfrm>
                <a:off x="524955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55" name="Oval 124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Freeform 125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57" name="Picture 126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35" name="Group 104"/>
              <p:cNvGrpSpPr/>
              <p:nvPr/>
            </p:nvGrpSpPr>
            <p:grpSpPr>
              <a:xfrm>
                <a:off x="852191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52" name="Oval 121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" name="Freeform 122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54" name="Picture 123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36" name="Group 105"/>
              <p:cNvGrpSpPr/>
              <p:nvPr/>
            </p:nvGrpSpPr>
            <p:grpSpPr>
              <a:xfrm>
                <a:off x="1179427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49" name="Oval 118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" name="Freeform 119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51" name="Picture 120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37" name="Group 106"/>
              <p:cNvGrpSpPr/>
              <p:nvPr/>
            </p:nvGrpSpPr>
            <p:grpSpPr>
              <a:xfrm>
                <a:off x="1506663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46" name="Oval 115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" name="Freeform 116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8" name="Picture 117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38" name="Group 107"/>
              <p:cNvGrpSpPr/>
              <p:nvPr/>
            </p:nvGrpSpPr>
            <p:grpSpPr>
              <a:xfrm>
                <a:off x="1833899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43" name="Oval 112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4" name="Freeform 113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5" name="Picture 114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  <p:grpSp>
            <p:nvGrpSpPr>
              <p:cNvPr id="39" name="Group 108"/>
              <p:cNvGrpSpPr/>
              <p:nvPr/>
            </p:nvGrpSpPr>
            <p:grpSpPr>
              <a:xfrm>
                <a:off x="2161134" y="4425979"/>
                <a:ext cx="274555" cy="346881"/>
                <a:chOff x="236403" y="1586230"/>
                <a:chExt cx="757238" cy="956716"/>
              </a:xfrm>
            </p:grpSpPr>
            <p:sp>
              <p:nvSpPr>
                <p:cNvPr id="40" name="Oval 109"/>
                <p:cNvSpPr/>
                <p:nvPr/>
              </p:nvSpPr>
              <p:spPr>
                <a:xfrm>
                  <a:off x="427697" y="1586230"/>
                  <a:ext cx="374650" cy="374650"/>
                </a:xfrm>
                <a:prstGeom prst="ellipse">
                  <a:avLst/>
                </a:prstGeom>
                <a:gradFill>
                  <a:gsLst>
                    <a:gs pos="10000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" name="Freeform 110"/>
                <p:cNvSpPr/>
                <p:nvPr/>
              </p:nvSpPr>
              <p:spPr>
                <a:xfrm>
                  <a:off x="236403" y="2004985"/>
                  <a:ext cx="757238" cy="495327"/>
                </a:xfrm>
                <a:custGeom>
                  <a:avLst/>
                  <a:gdLst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275 h 495300"/>
                    <a:gd name="connsiteX1" fmla="*/ 357188 w 757238"/>
                    <a:gd name="connsiteY1" fmla="*/ 0 h 495300"/>
                    <a:gd name="connsiteX2" fmla="*/ 757238 w 757238"/>
                    <a:gd name="connsiteY2" fmla="*/ 309562 h 495300"/>
                    <a:gd name="connsiteX3" fmla="*/ 338138 w 757238"/>
                    <a:gd name="connsiteY3" fmla="*/ 495300 h 495300"/>
                    <a:gd name="connsiteX4" fmla="*/ 0 w 757238"/>
                    <a:gd name="connsiteY4" fmla="*/ 295275 h 495300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  <a:gd name="connsiteX0" fmla="*/ 0 w 757238"/>
                    <a:gd name="connsiteY0" fmla="*/ 295302 h 495327"/>
                    <a:gd name="connsiteX1" fmla="*/ 357188 w 757238"/>
                    <a:gd name="connsiteY1" fmla="*/ 27 h 495327"/>
                    <a:gd name="connsiteX2" fmla="*/ 757238 w 757238"/>
                    <a:gd name="connsiteY2" fmla="*/ 309589 h 495327"/>
                    <a:gd name="connsiteX3" fmla="*/ 338138 w 757238"/>
                    <a:gd name="connsiteY3" fmla="*/ 495327 h 495327"/>
                    <a:gd name="connsiteX4" fmla="*/ 0 w 757238"/>
                    <a:gd name="connsiteY4" fmla="*/ 295302 h 495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57238" h="495327">
                      <a:moveTo>
                        <a:pt x="0" y="295302"/>
                      </a:moveTo>
                      <a:cubicBezTo>
                        <a:pt x="26988" y="228627"/>
                        <a:pt x="114300" y="3202"/>
                        <a:pt x="357188" y="27"/>
                      </a:cubicBezTo>
                      <a:cubicBezTo>
                        <a:pt x="600076" y="-3148"/>
                        <a:pt x="744538" y="269902"/>
                        <a:pt x="757238" y="309589"/>
                      </a:cubicBezTo>
                      <a:cubicBezTo>
                        <a:pt x="668338" y="415952"/>
                        <a:pt x="582613" y="481039"/>
                        <a:pt x="338138" y="495327"/>
                      </a:cubicBezTo>
                      <a:cubicBezTo>
                        <a:pt x="158750" y="476277"/>
                        <a:pt x="39688" y="381027"/>
                        <a:pt x="0" y="29530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C9C9C9"/>
                    </a:gs>
                    <a:gs pos="48000">
                      <a:srgbClr val="E8E8E8"/>
                    </a:gs>
                  </a:gsLst>
                  <a:lin ang="5400000" scaled="0"/>
                </a:gra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2" name="Picture 111"/>
                <p:cNvPicPr>
                  <a:picLocks noChangeAspect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9459" y="2276157"/>
                  <a:ext cx="571126" cy="26678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82" name="Rectangle 29"/>
          <p:cNvSpPr txBox="1"/>
          <p:nvPr>
            <p:custDataLst>
              <p:tags r:id="rId8"/>
            </p:custDataLst>
          </p:nvPr>
        </p:nvSpPr>
        <p:spPr>
          <a:xfrm>
            <a:off x="2314463" y="1068367"/>
            <a:ext cx="109467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4000" b="1" dirty="0" smtClean="0">
                <a:solidFill>
                  <a:srgbClr val="FF0000"/>
                </a:solidFill>
                <a:latin typeface="Arial Narrow" pitchFamily="34" charset="0"/>
              </a:rPr>
              <a:t>4.303</a:t>
            </a:r>
            <a:endParaRPr lang="es-CO" sz="4000" dirty="0">
              <a:solidFill>
                <a:srgbClr val="FF0000"/>
              </a:solidFill>
            </a:endParaRPr>
          </a:p>
        </p:txBody>
      </p:sp>
      <p:sp>
        <p:nvSpPr>
          <p:cNvPr id="83" name="Rectangle 29"/>
          <p:cNvSpPr txBox="1"/>
          <p:nvPr>
            <p:custDataLst>
              <p:tags r:id="rId9"/>
            </p:custDataLst>
          </p:nvPr>
        </p:nvSpPr>
        <p:spPr>
          <a:xfrm>
            <a:off x="2175101" y="1580693"/>
            <a:ext cx="187888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 Narrow" pitchFamily="34" charset="0"/>
              </a:rPr>
              <a:t>Establecimientos educativos</a:t>
            </a:r>
            <a:endParaRPr lang="es-CO" sz="2000" b="1" dirty="0">
              <a:solidFill>
                <a:schemeClr val="tx2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85" name="Rectangle 29"/>
          <p:cNvSpPr txBox="1"/>
          <p:nvPr>
            <p:custDataLst>
              <p:tags r:id="rId10"/>
            </p:custDataLst>
          </p:nvPr>
        </p:nvSpPr>
        <p:spPr>
          <a:xfrm>
            <a:off x="2314463" y="2593374"/>
            <a:ext cx="126977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4000" b="1" dirty="0" smtClean="0">
                <a:solidFill>
                  <a:srgbClr val="FF0000"/>
                </a:solidFill>
                <a:latin typeface="Arial Narrow" pitchFamily="34" charset="0"/>
              </a:rPr>
              <a:t>3.000</a:t>
            </a:r>
            <a:endParaRPr lang="es-CO" sz="4000" dirty="0">
              <a:solidFill>
                <a:srgbClr val="FF0000"/>
              </a:solidFill>
            </a:endParaRPr>
          </a:p>
        </p:txBody>
      </p:sp>
      <p:sp>
        <p:nvSpPr>
          <p:cNvPr id="86" name="Rectangle 29"/>
          <p:cNvSpPr txBox="1"/>
          <p:nvPr>
            <p:custDataLst>
              <p:tags r:id="rId11"/>
            </p:custDataLst>
          </p:nvPr>
        </p:nvSpPr>
        <p:spPr>
          <a:xfrm>
            <a:off x="3409137" y="2820499"/>
            <a:ext cx="10832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 Narrow" pitchFamily="34" charset="0"/>
              </a:rPr>
              <a:t>tutores</a:t>
            </a:r>
            <a:endParaRPr lang="es-CO" sz="2000" b="1" dirty="0">
              <a:solidFill>
                <a:schemeClr val="tx2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87" name="Rectangle 29"/>
          <p:cNvSpPr txBox="1"/>
          <p:nvPr>
            <p:custDataLst>
              <p:tags r:id="rId12"/>
            </p:custDataLst>
          </p:nvPr>
        </p:nvSpPr>
        <p:spPr>
          <a:xfrm>
            <a:off x="2364755" y="3187529"/>
            <a:ext cx="191812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800"/>
              </a:lnSpc>
            </a:pPr>
            <a:r>
              <a:rPr lang="es-CO" sz="1600" dirty="0" smtClean="0">
                <a:solidFill>
                  <a:schemeClr val="tx1"/>
                </a:solidFill>
                <a:latin typeface="Arial Narrow" pitchFamily="34" charset="0"/>
              </a:rPr>
              <a:t>Quienes a su vez acompañan a</a:t>
            </a:r>
            <a:endParaRPr lang="es-CO" sz="16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88" name="Rectangle 29"/>
          <p:cNvSpPr txBox="1"/>
          <p:nvPr>
            <p:custDataLst>
              <p:tags r:id="rId13"/>
            </p:custDataLst>
          </p:nvPr>
        </p:nvSpPr>
        <p:spPr>
          <a:xfrm>
            <a:off x="2314464" y="4131107"/>
            <a:ext cx="147672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4000" b="1" dirty="0" smtClean="0">
                <a:solidFill>
                  <a:srgbClr val="FF0000"/>
                </a:solidFill>
                <a:latin typeface="Arial Narrow" pitchFamily="34" charset="0"/>
              </a:rPr>
              <a:t>90.052</a:t>
            </a:r>
            <a:endParaRPr lang="es-CO" sz="4000" dirty="0">
              <a:solidFill>
                <a:srgbClr val="FF0000"/>
              </a:solidFill>
            </a:endParaRPr>
          </a:p>
        </p:txBody>
      </p:sp>
      <p:sp>
        <p:nvSpPr>
          <p:cNvPr id="89" name="Rectangle 29"/>
          <p:cNvSpPr txBox="1"/>
          <p:nvPr>
            <p:custDataLst>
              <p:tags r:id="rId14"/>
            </p:custDataLst>
          </p:nvPr>
        </p:nvSpPr>
        <p:spPr>
          <a:xfrm>
            <a:off x="3627127" y="4360680"/>
            <a:ext cx="10832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 Narrow" pitchFamily="34" charset="0"/>
              </a:rPr>
              <a:t>docentes</a:t>
            </a:r>
            <a:endParaRPr lang="es-CO" sz="2000" b="1" dirty="0">
              <a:solidFill>
                <a:schemeClr val="tx2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90" name="Rectangle 29"/>
          <p:cNvSpPr txBox="1"/>
          <p:nvPr>
            <p:custDataLst>
              <p:tags r:id="rId15"/>
            </p:custDataLst>
          </p:nvPr>
        </p:nvSpPr>
        <p:spPr>
          <a:xfrm>
            <a:off x="2297528" y="4707022"/>
            <a:ext cx="249163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800"/>
              </a:lnSpc>
            </a:pPr>
            <a:r>
              <a:rPr lang="es-CO" sz="1600" dirty="0" smtClean="0">
                <a:solidFill>
                  <a:schemeClr val="tx1"/>
                </a:solidFill>
                <a:latin typeface="Arial Narrow" pitchFamily="34" charset="0"/>
              </a:rPr>
              <a:t>Brindándoles herramientas para que sus clases sean mejor dictadas y mejor aprovechadas por los niños</a:t>
            </a:r>
            <a:endParaRPr lang="es-CO" sz="16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91" name="Freeform 139"/>
          <p:cNvSpPr/>
          <p:nvPr>
            <p:custDataLst>
              <p:tags r:id="rId16"/>
            </p:custDataLst>
          </p:nvPr>
        </p:nvSpPr>
        <p:spPr>
          <a:xfrm>
            <a:off x="2395937" y="2309072"/>
            <a:ext cx="316707" cy="190500"/>
          </a:xfrm>
          <a:custGeom>
            <a:avLst/>
            <a:gdLst>
              <a:gd name="connsiteX0" fmla="*/ 0 w 304800"/>
              <a:gd name="connsiteY0" fmla="*/ 0 h 190500"/>
              <a:gd name="connsiteX1" fmla="*/ 165100 w 304800"/>
              <a:gd name="connsiteY1" fmla="*/ 190500 h 190500"/>
              <a:gd name="connsiteX2" fmla="*/ 304800 w 304800"/>
              <a:gd name="connsiteY2" fmla="*/ 19050 h 190500"/>
              <a:gd name="connsiteX0" fmla="*/ 0 w 316707"/>
              <a:gd name="connsiteY0" fmla="*/ 0 h 190500"/>
              <a:gd name="connsiteX1" fmla="*/ 165100 w 316707"/>
              <a:gd name="connsiteY1" fmla="*/ 190500 h 190500"/>
              <a:gd name="connsiteX2" fmla="*/ 316707 w 316707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6707" h="190500">
                <a:moveTo>
                  <a:pt x="0" y="0"/>
                </a:moveTo>
                <a:lnTo>
                  <a:pt x="165100" y="190500"/>
                </a:lnTo>
                <a:lnTo>
                  <a:pt x="316707" y="0"/>
                </a:lnTo>
              </a:path>
            </a:pathLst>
          </a:cu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92" name="Freeform 140"/>
          <p:cNvSpPr/>
          <p:nvPr>
            <p:custDataLst>
              <p:tags r:id="rId17"/>
            </p:custDataLst>
          </p:nvPr>
        </p:nvSpPr>
        <p:spPr>
          <a:xfrm>
            <a:off x="2395937" y="3845784"/>
            <a:ext cx="316707" cy="190500"/>
          </a:xfrm>
          <a:custGeom>
            <a:avLst/>
            <a:gdLst>
              <a:gd name="connsiteX0" fmla="*/ 0 w 304800"/>
              <a:gd name="connsiteY0" fmla="*/ 0 h 190500"/>
              <a:gd name="connsiteX1" fmla="*/ 165100 w 304800"/>
              <a:gd name="connsiteY1" fmla="*/ 190500 h 190500"/>
              <a:gd name="connsiteX2" fmla="*/ 304800 w 304800"/>
              <a:gd name="connsiteY2" fmla="*/ 19050 h 190500"/>
              <a:gd name="connsiteX0" fmla="*/ 0 w 316707"/>
              <a:gd name="connsiteY0" fmla="*/ 0 h 190500"/>
              <a:gd name="connsiteX1" fmla="*/ 165100 w 316707"/>
              <a:gd name="connsiteY1" fmla="*/ 190500 h 190500"/>
              <a:gd name="connsiteX2" fmla="*/ 316707 w 316707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6707" h="190500">
                <a:moveTo>
                  <a:pt x="0" y="0"/>
                </a:moveTo>
                <a:lnTo>
                  <a:pt x="165100" y="190500"/>
                </a:lnTo>
                <a:lnTo>
                  <a:pt x="316707" y="0"/>
                </a:lnTo>
              </a:path>
            </a:pathLst>
          </a:cu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93" name="Freeform 141"/>
          <p:cNvSpPr/>
          <p:nvPr>
            <p:custDataLst>
              <p:tags r:id="rId18"/>
            </p:custDataLst>
          </p:nvPr>
        </p:nvSpPr>
        <p:spPr>
          <a:xfrm>
            <a:off x="4233852" y="1009650"/>
            <a:ext cx="1038225" cy="4762500"/>
          </a:xfrm>
          <a:custGeom>
            <a:avLst/>
            <a:gdLst>
              <a:gd name="connsiteX0" fmla="*/ 0 w 1038225"/>
              <a:gd name="connsiteY0" fmla="*/ 0 h 4762500"/>
              <a:gd name="connsiteX1" fmla="*/ 1038225 w 1038225"/>
              <a:gd name="connsiteY1" fmla="*/ 0 h 4762500"/>
              <a:gd name="connsiteX2" fmla="*/ 1038225 w 1038225"/>
              <a:gd name="connsiteY2" fmla="*/ 4762500 h 4762500"/>
              <a:gd name="connsiteX3" fmla="*/ 28575 w 1038225"/>
              <a:gd name="connsiteY3" fmla="*/ 4762500 h 476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8225" h="4762500">
                <a:moveTo>
                  <a:pt x="0" y="0"/>
                </a:moveTo>
                <a:lnTo>
                  <a:pt x="1038225" y="0"/>
                </a:lnTo>
                <a:lnTo>
                  <a:pt x="1038225" y="4762500"/>
                </a:lnTo>
                <a:lnTo>
                  <a:pt x="28575" y="4762500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94" name="Group 146"/>
          <p:cNvGrpSpPr/>
          <p:nvPr/>
        </p:nvGrpSpPr>
        <p:grpSpPr>
          <a:xfrm>
            <a:off x="4716540" y="2571039"/>
            <a:ext cx="1614322" cy="1614322"/>
            <a:chOff x="4726907" y="2849728"/>
            <a:chExt cx="1888659" cy="1888659"/>
          </a:xfrm>
        </p:grpSpPr>
        <p:sp>
          <p:nvSpPr>
            <p:cNvPr id="95" name="Oval 142"/>
            <p:cNvSpPr/>
            <p:nvPr>
              <p:custDataLst>
                <p:tags r:id="rId28"/>
              </p:custDataLst>
            </p:nvPr>
          </p:nvSpPr>
          <p:spPr>
            <a:xfrm>
              <a:off x="4726907" y="2849728"/>
              <a:ext cx="1888659" cy="188865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6" name="Oval 145"/>
            <p:cNvSpPr/>
            <p:nvPr>
              <p:custDataLst>
                <p:tags r:id="rId29"/>
              </p:custDataLst>
            </p:nvPr>
          </p:nvSpPr>
          <p:spPr>
            <a:xfrm>
              <a:off x="4794105" y="2916926"/>
              <a:ext cx="1754263" cy="1754263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02" name="Rectangle 29"/>
          <p:cNvSpPr txBox="1"/>
          <p:nvPr>
            <p:custDataLst>
              <p:tags r:id="rId19"/>
            </p:custDataLst>
          </p:nvPr>
        </p:nvSpPr>
        <p:spPr>
          <a:xfrm>
            <a:off x="6101783" y="1253033"/>
            <a:ext cx="109467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5600" b="1" dirty="0" smtClean="0">
                <a:solidFill>
                  <a:srgbClr val="FF0000"/>
                </a:solidFill>
                <a:latin typeface="Arial Narrow" pitchFamily="34" charset="0"/>
              </a:rPr>
              <a:t>80</a:t>
            </a:r>
            <a:endParaRPr lang="es-CO" sz="5600" dirty="0">
              <a:solidFill>
                <a:srgbClr val="FF0000"/>
              </a:solidFill>
            </a:endParaRPr>
          </a:p>
        </p:txBody>
      </p:sp>
      <p:sp>
        <p:nvSpPr>
          <p:cNvPr id="103" name="Rectangle 29"/>
          <p:cNvSpPr txBox="1"/>
          <p:nvPr>
            <p:custDataLst>
              <p:tags r:id="rId20"/>
            </p:custDataLst>
          </p:nvPr>
        </p:nvSpPr>
        <p:spPr>
          <a:xfrm>
            <a:off x="6878199" y="1325358"/>
            <a:ext cx="187888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 Narrow" pitchFamily="34" charset="0"/>
              </a:rPr>
              <a:t>Entidades Territoriales</a:t>
            </a:r>
            <a:endParaRPr lang="es-CO" sz="2000" b="1" dirty="0">
              <a:solidFill>
                <a:schemeClr val="tx2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04" name="Rectangle 3"/>
          <p:cNvSpPr txBox="1"/>
          <p:nvPr>
            <p:custDataLst>
              <p:tags r:id="rId21"/>
            </p:custDataLst>
          </p:nvPr>
        </p:nvSpPr>
        <p:spPr>
          <a:xfrm>
            <a:off x="6008414" y="2100084"/>
            <a:ext cx="23760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1400" dirty="0" smtClean="0">
                <a:solidFill>
                  <a:schemeClr val="tx1"/>
                </a:solidFill>
              </a:rPr>
              <a:t>Empoderamiento Territorial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105" name="Rectangle 29"/>
          <p:cNvSpPr txBox="1"/>
          <p:nvPr>
            <p:custDataLst>
              <p:tags r:id="rId22"/>
            </p:custDataLst>
          </p:nvPr>
        </p:nvSpPr>
        <p:spPr>
          <a:xfrm>
            <a:off x="5888434" y="4418040"/>
            <a:ext cx="1094674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5200" b="1" dirty="0" smtClean="0">
                <a:solidFill>
                  <a:srgbClr val="FF0000"/>
                </a:solidFill>
                <a:latin typeface="Arial Narrow" pitchFamily="34" charset="0"/>
              </a:rPr>
              <a:t>78%</a:t>
            </a:r>
            <a:endParaRPr lang="es-CO" sz="5200" dirty="0">
              <a:solidFill>
                <a:srgbClr val="FF0000"/>
              </a:solidFill>
            </a:endParaRPr>
          </a:p>
        </p:txBody>
      </p:sp>
      <p:sp>
        <p:nvSpPr>
          <p:cNvPr id="106" name="Rectangle 29"/>
          <p:cNvSpPr txBox="1"/>
          <p:nvPr>
            <p:custDataLst>
              <p:tags r:id="rId23"/>
            </p:custDataLst>
          </p:nvPr>
        </p:nvSpPr>
        <p:spPr>
          <a:xfrm>
            <a:off x="7054923" y="4582530"/>
            <a:ext cx="187888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 Narrow" pitchFamily="34" charset="0"/>
              </a:rPr>
              <a:t>Establecimiento en zona rural</a:t>
            </a:r>
            <a:endParaRPr lang="es-CO" sz="2000" b="1" dirty="0">
              <a:solidFill>
                <a:schemeClr val="tx2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39" t="30347" r="28333" b="24593"/>
          <a:stretch/>
        </p:blipFill>
        <p:spPr bwMode="auto">
          <a:xfrm>
            <a:off x="4265690" y="2571040"/>
            <a:ext cx="2104030" cy="17040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" name="110 Rectángulo redondeado"/>
          <p:cNvSpPr/>
          <p:nvPr/>
        </p:nvSpPr>
        <p:spPr bwMode="auto">
          <a:xfrm>
            <a:off x="7321835" y="1210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2" name="Title 1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7398035" y="1210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113" name="Rectangle 29"/>
          <p:cNvSpPr txBox="1"/>
          <p:nvPr>
            <p:custDataLst>
              <p:tags r:id="rId25"/>
            </p:custDataLst>
          </p:nvPr>
        </p:nvSpPr>
        <p:spPr>
          <a:xfrm>
            <a:off x="6798092" y="3089644"/>
            <a:ext cx="109467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5600" b="1" dirty="0" smtClean="0">
                <a:solidFill>
                  <a:srgbClr val="FF0000"/>
                </a:solidFill>
                <a:latin typeface="Arial Narrow" pitchFamily="34" charset="0"/>
              </a:rPr>
              <a:t>878</a:t>
            </a:r>
            <a:endParaRPr lang="es-CO" sz="5600" dirty="0">
              <a:solidFill>
                <a:srgbClr val="FF0000"/>
              </a:solidFill>
            </a:endParaRPr>
          </a:p>
        </p:txBody>
      </p:sp>
      <p:sp>
        <p:nvSpPr>
          <p:cNvPr id="114" name="Rectangle 29"/>
          <p:cNvSpPr txBox="1"/>
          <p:nvPr>
            <p:custDataLst>
              <p:tags r:id="rId26"/>
            </p:custDataLst>
          </p:nvPr>
        </p:nvSpPr>
        <p:spPr>
          <a:xfrm>
            <a:off x="7945504" y="3298458"/>
            <a:ext cx="11036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spcBef>
                <a:spcPts val="600"/>
              </a:spcBef>
              <a:buClr>
                <a:schemeClr val="tx2"/>
              </a:buClr>
              <a:defRPr sz="1800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 Narrow" pitchFamily="34" charset="0"/>
              </a:rPr>
              <a:t>Municipios</a:t>
            </a:r>
            <a:endParaRPr lang="es-CO" sz="2000" b="1" dirty="0">
              <a:solidFill>
                <a:schemeClr val="tx2">
                  <a:lumMod val="75000"/>
                  <a:lumOff val="2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15" name="Rectangle 36"/>
          <p:cNvSpPr/>
          <p:nvPr>
            <p:custDataLst>
              <p:tags r:id="rId27"/>
            </p:custDataLst>
          </p:nvPr>
        </p:nvSpPr>
        <p:spPr>
          <a:xfrm>
            <a:off x="6725320" y="3941034"/>
            <a:ext cx="2405636" cy="90187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65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4"/>
          <p:cNvSpPr txBox="1"/>
          <p:nvPr>
            <p:custDataLst>
              <p:tags r:id="rId1"/>
            </p:custDataLst>
          </p:nvPr>
        </p:nvSpPr>
        <p:spPr>
          <a:xfrm>
            <a:off x="527844" y="937609"/>
            <a:ext cx="3386137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500" b="1" dirty="0">
                <a:solidFill>
                  <a:srgbClr val="ED7701"/>
                </a:solidFill>
              </a:rPr>
              <a:t>Se han entregado </a:t>
            </a:r>
          </a:p>
        </p:txBody>
      </p:sp>
      <p:sp>
        <p:nvSpPr>
          <p:cNvPr id="10" name="Rectangle 14"/>
          <p:cNvSpPr txBox="1"/>
          <p:nvPr>
            <p:custDataLst>
              <p:tags r:id="rId2"/>
            </p:custDataLst>
          </p:nvPr>
        </p:nvSpPr>
        <p:spPr>
          <a:xfrm>
            <a:off x="527844" y="1129468"/>
            <a:ext cx="465296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8000" b="1" dirty="0" smtClean="0">
                <a:solidFill>
                  <a:srgbClr val="ED7701"/>
                </a:solidFill>
                <a:latin typeface="Arial Narrow" pitchFamily="34" charset="0"/>
              </a:rPr>
              <a:t>20.500.000</a:t>
            </a:r>
            <a:endParaRPr lang="es-CO" sz="8000" b="1" dirty="0">
              <a:solidFill>
                <a:srgbClr val="ED7701"/>
              </a:solidFill>
              <a:latin typeface="Arial Narrow" pitchFamily="34" charset="0"/>
            </a:endParaRPr>
          </a:p>
        </p:txBody>
      </p:sp>
      <p:sp>
        <p:nvSpPr>
          <p:cNvPr id="11" name="Rectangle 14"/>
          <p:cNvSpPr txBox="1"/>
          <p:nvPr>
            <p:custDataLst>
              <p:tags r:id="rId3"/>
            </p:custDataLst>
          </p:nvPr>
        </p:nvSpPr>
        <p:spPr>
          <a:xfrm>
            <a:off x="527844" y="2180228"/>
            <a:ext cx="481171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O" sz="2500" b="1" dirty="0" smtClean="0">
                <a:latin typeface="Arial Narrow" pitchFamily="34" charset="0"/>
              </a:rPr>
              <a:t>libros </a:t>
            </a:r>
            <a:r>
              <a:rPr lang="es-CO" sz="2500" b="1" dirty="0">
                <a:latin typeface="Arial Narrow" pitchFamily="34" charset="0"/>
              </a:rPr>
              <a:t>de texto de manera gratuita</a:t>
            </a:r>
          </a:p>
        </p:txBody>
      </p:sp>
      <p:grpSp>
        <p:nvGrpSpPr>
          <p:cNvPr id="12" name="Group 28"/>
          <p:cNvGrpSpPr/>
          <p:nvPr/>
        </p:nvGrpSpPr>
        <p:grpSpPr>
          <a:xfrm rot="4665282">
            <a:off x="1836346" y="3093664"/>
            <a:ext cx="345948" cy="3438913"/>
            <a:chOff x="2856622" y="3805566"/>
            <a:chExt cx="345948" cy="3438913"/>
          </a:xfrm>
          <a:solidFill>
            <a:schemeClr val="accent6">
              <a:lumMod val="75000"/>
            </a:schemeClr>
          </a:solidFill>
        </p:grpSpPr>
        <p:sp>
          <p:nvSpPr>
            <p:cNvPr id="13" name="Right Arrow 26"/>
            <p:cNvSpPr/>
            <p:nvPr>
              <p:custDataLst>
                <p:tags r:id="rId10"/>
              </p:custDataLst>
            </p:nvPr>
          </p:nvSpPr>
          <p:spPr>
            <a:xfrm>
              <a:off x="2856622" y="4976355"/>
              <a:ext cx="345948" cy="1097334"/>
            </a:xfrm>
            <a:prstGeom prst="rightArrow">
              <a:avLst>
                <a:gd name="adj1" fmla="val 79978"/>
                <a:gd name="adj2" fmla="val 67082"/>
              </a:avLst>
            </a:prstGeom>
            <a:grpFill/>
            <a:ln>
              <a:noFill/>
            </a:ln>
            <a:effectLst>
              <a:outerShdw blurRad="50800" dist="38100" dir="5400000" algn="ctr" rotWithShape="0">
                <a:schemeClr val="tx1">
                  <a:alpha val="16000"/>
                </a:schemeClr>
              </a:outerShdw>
            </a:effectLst>
          </p:spPr>
          <p:txBody>
            <a:bodyPr vert="horz" wrap="square" lIns="126000" tIns="91440" rIns="126000" bIns="91440" numCol="1" anchor="ctr" anchorCtr="0" compatLnSpc="1">
              <a:prstTxWarp prst="textNoShape">
                <a:avLst/>
              </a:prstTxWarp>
            </a:bodyPr>
            <a:lstStyle/>
            <a:p>
              <a:endParaRPr lang="es-CO" dirty="0" err="1"/>
            </a:p>
          </p:txBody>
        </p:sp>
        <p:cxnSp>
          <p:nvCxnSpPr>
            <p:cNvPr id="14" name="Straight Connector 27"/>
            <p:cNvCxnSpPr/>
            <p:nvPr>
              <p:custDataLst>
                <p:tags r:id="rId11"/>
              </p:custDataLst>
            </p:nvPr>
          </p:nvCxnSpPr>
          <p:spPr>
            <a:xfrm>
              <a:off x="2856622" y="3805566"/>
              <a:ext cx="0" cy="3438913"/>
            </a:xfrm>
            <a:prstGeom prst="line">
              <a:avLst/>
            </a:prstGeom>
            <a:grpFill/>
            <a:ln w="19050"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75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5" name="Rectangle 30"/>
          <p:cNvSpPr txBox="1"/>
          <p:nvPr/>
        </p:nvSpPr>
        <p:spPr>
          <a:xfrm>
            <a:off x="857413" y="5236964"/>
            <a:ext cx="251872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s-CO" b="1" dirty="0"/>
              <a:t>Consolidación de estrategias pedagógicas </a:t>
            </a:r>
            <a:endParaRPr lang="es-CO" dirty="0"/>
          </a:p>
        </p:txBody>
      </p:sp>
      <p:grpSp>
        <p:nvGrpSpPr>
          <p:cNvPr id="16" name="Group 33"/>
          <p:cNvGrpSpPr/>
          <p:nvPr/>
        </p:nvGrpSpPr>
        <p:grpSpPr>
          <a:xfrm rot="4817662">
            <a:off x="4742815" y="3325823"/>
            <a:ext cx="345948" cy="3438913"/>
            <a:chOff x="2856622" y="3805566"/>
            <a:chExt cx="345948" cy="3438913"/>
          </a:xfrm>
          <a:solidFill>
            <a:srgbClr val="0070C0"/>
          </a:solidFill>
        </p:grpSpPr>
        <p:sp>
          <p:nvSpPr>
            <p:cNvPr id="17" name="Right Arrow 34"/>
            <p:cNvSpPr/>
            <p:nvPr>
              <p:custDataLst>
                <p:tags r:id="rId8"/>
              </p:custDataLst>
            </p:nvPr>
          </p:nvSpPr>
          <p:spPr>
            <a:xfrm>
              <a:off x="2856622" y="4976355"/>
              <a:ext cx="345948" cy="1097334"/>
            </a:xfrm>
            <a:prstGeom prst="rightArrow">
              <a:avLst>
                <a:gd name="adj1" fmla="val 79978"/>
                <a:gd name="adj2" fmla="val 67082"/>
              </a:avLst>
            </a:prstGeom>
            <a:grpFill/>
            <a:ln>
              <a:noFill/>
            </a:ln>
            <a:effectLst>
              <a:outerShdw blurRad="50800" dist="38100" dir="5400000" algn="ctr" rotWithShape="0">
                <a:schemeClr val="tx1">
                  <a:alpha val="16000"/>
                </a:schemeClr>
              </a:outerShdw>
            </a:effectLst>
          </p:spPr>
          <p:txBody>
            <a:bodyPr vert="horz" wrap="square" lIns="126000" tIns="91440" rIns="126000" bIns="91440" numCol="1" anchor="ctr" anchorCtr="0" compatLnSpc="1">
              <a:prstTxWarp prst="textNoShape">
                <a:avLst/>
              </a:prstTxWarp>
            </a:bodyPr>
            <a:lstStyle/>
            <a:p>
              <a:endParaRPr lang="es-CO" dirty="0" err="1"/>
            </a:p>
          </p:txBody>
        </p:sp>
        <p:cxnSp>
          <p:nvCxnSpPr>
            <p:cNvPr id="18" name="Straight Connector 35"/>
            <p:cNvCxnSpPr/>
            <p:nvPr>
              <p:custDataLst>
                <p:tags r:id="rId9"/>
              </p:custDataLst>
            </p:nvPr>
          </p:nvCxnSpPr>
          <p:spPr>
            <a:xfrm>
              <a:off x="2856622" y="3805566"/>
              <a:ext cx="0" cy="3438913"/>
            </a:xfrm>
            <a:prstGeom prst="line">
              <a:avLst/>
            </a:prstGeom>
            <a:grpFill/>
            <a:ln w="19050"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75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9" name="Rectangle 30"/>
          <p:cNvSpPr txBox="1"/>
          <p:nvPr/>
        </p:nvSpPr>
        <p:spPr>
          <a:xfrm>
            <a:off x="3785439" y="5320389"/>
            <a:ext cx="253916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s-CO" b="1" dirty="0"/>
              <a:t>Prácticas de aula con el uso de material educativo</a:t>
            </a:r>
          </a:p>
        </p:txBody>
      </p:sp>
      <p:grpSp>
        <p:nvGrpSpPr>
          <p:cNvPr id="20" name="Group 40"/>
          <p:cNvGrpSpPr/>
          <p:nvPr/>
        </p:nvGrpSpPr>
        <p:grpSpPr>
          <a:xfrm rot="4730745">
            <a:off x="7033340" y="1155471"/>
            <a:ext cx="345948" cy="3438913"/>
            <a:chOff x="2856622" y="3805566"/>
            <a:chExt cx="345948" cy="3438913"/>
          </a:xfrm>
          <a:solidFill>
            <a:srgbClr val="C00000"/>
          </a:solidFill>
        </p:grpSpPr>
        <p:sp>
          <p:nvSpPr>
            <p:cNvPr id="21" name="Right Arrow 41"/>
            <p:cNvSpPr/>
            <p:nvPr>
              <p:custDataLst>
                <p:tags r:id="rId6"/>
              </p:custDataLst>
            </p:nvPr>
          </p:nvSpPr>
          <p:spPr>
            <a:xfrm>
              <a:off x="2856622" y="4976355"/>
              <a:ext cx="345948" cy="1097334"/>
            </a:xfrm>
            <a:prstGeom prst="rightArrow">
              <a:avLst>
                <a:gd name="adj1" fmla="val 79978"/>
                <a:gd name="adj2" fmla="val 67082"/>
              </a:avLst>
            </a:prstGeom>
            <a:grpFill/>
            <a:ln>
              <a:noFill/>
            </a:ln>
            <a:effectLst>
              <a:outerShdw blurRad="50800" dist="38100" dir="5400000" algn="ctr" rotWithShape="0">
                <a:schemeClr val="tx1">
                  <a:alpha val="16000"/>
                </a:schemeClr>
              </a:outerShdw>
            </a:effectLst>
          </p:spPr>
          <p:txBody>
            <a:bodyPr vert="horz" wrap="square" lIns="126000" tIns="91440" rIns="126000" bIns="91440" numCol="1" anchor="ctr" anchorCtr="0" compatLnSpc="1">
              <a:prstTxWarp prst="textNoShape">
                <a:avLst/>
              </a:prstTxWarp>
            </a:bodyPr>
            <a:lstStyle/>
            <a:p>
              <a:endParaRPr lang="es-CO" dirty="0" err="1"/>
            </a:p>
          </p:txBody>
        </p:sp>
        <p:cxnSp>
          <p:nvCxnSpPr>
            <p:cNvPr id="22" name="Straight Connector 42"/>
            <p:cNvCxnSpPr/>
            <p:nvPr>
              <p:custDataLst>
                <p:tags r:id="rId7"/>
              </p:custDataLst>
            </p:nvPr>
          </p:nvCxnSpPr>
          <p:spPr>
            <a:xfrm>
              <a:off x="2856622" y="3805566"/>
              <a:ext cx="0" cy="3438913"/>
            </a:xfrm>
            <a:prstGeom prst="line">
              <a:avLst/>
            </a:prstGeom>
            <a:grpFill/>
            <a:ln w="19050"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75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3" name="Rectangle 30"/>
          <p:cNvSpPr txBox="1"/>
          <p:nvPr/>
        </p:nvSpPr>
        <p:spPr>
          <a:xfrm>
            <a:off x="6413500" y="3193361"/>
            <a:ext cx="27305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s-CO" b="1" dirty="0"/>
              <a:t>Uso pedagógico de resultados de pruebas en la evaluación de aprendizajes</a:t>
            </a:r>
          </a:p>
        </p:txBody>
      </p:sp>
      <p:grpSp>
        <p:nvGrpSpPr>
          <p:cNvPr id="24" name="Group 44"/>
          <p:cNvGrpSpPr/>
          <p:nvPr/>
        </p:nvGrpSpPr>
        <p:grpSpPr>
          <a:xfrm>
            <a:off x="6704810" y="4452893"/>
            <a:ext cx="2155018" cy="1519197"/>
            <a:chOff x="3157143" y="3864793"/>
            <a:chExt cx="1865562" cy="1519197"/>
          </a:xfrm>
        </p:grpSpPr>
        <p:sp>
          <p:nvSpPr>
            <p:cNvPr id="25" name="Freeform 4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517774" y="3879831"/>
              <a:ext cx="1504931" cy="1494108"/>
            </a:xfrm>
            <a:custGeom>
              <a:avLst/>
              <a:gdLst>
                <a:gd name="T0" fmla="*/ 464 w 1914"/>
                <a:gd name="T1" fmla="*/ 0 h 1900"/>
                <a:gd name="T2" fmla="*/ 0 w 1914"/>
                <a:gd name="T3" fmla="*/ 57 h 1900"/>
                <a:gd name="T4" fmla="*/ 1267 w 1914"/>
                <a:gd name="T5" fmla="*/ 339 h 1900"/>
                <a:gd name="T6" fmla="*/ 1337 w 1914"/>
                <a:gd name="T7" fmla="*/ 890 h 1900"/>
                <a:gd name="T8" fmla="*/ 473 w 1914"/>
                <a:gd name="T9" fmla="*/ 1900 h 1900"/>
                <a:gd name="T10" fmla="*/ 1600 w 1914"/>
                <a:gd name="T11" fmla="*/ 803 h 1900"/>
                <a:gd name="T12" fmla="*/ 464 w 1914"/>
                <a:gd name="T13" fmla="*/ 0 h 1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4" h="1900">
                  <a:moveTo>
                    <a:pt x="464" y="0"/>
                  </a:moveTo>
                  <a:cubicBezTo>
                    <a:pt x="273" y="0"/>
                    <a:pt x="105" y="21"/>
                    <a:pt x="0" y="57"/>
                  </a:cubicBezTo>
                  <a:cubicBezTo>
                    <a:pt x="1267" y="339"/>
                    <a:pt x="1267" y="339"/>
                    <a:pt x="1267" y="339"/>
                  </a:cubicBezTo>
                  <a:cubicBezTo>
                    <a:pt x="1337" y="890"/>
                    <a:pt x="1337" y="890"/>
                    <a:pt x="1337" y="890"/>
                  </a:cubicBezTo>
                  <a:cubicBezTo>
                    <a:pt x="473" y="1900"/>
                    <a:pt x="473" y="1900"/>
                    <a:pt x="473" y="1900"/>
                  </a:cubicBezTo>
                  <a:cubicBezTo>
                    <a:pt x="513" y="1886"/>
                    <a:pt x="1088" y="1764"/>
                    <a:pt x="1600" y="803"/>
                  </a:cubicBezTo>
                  <a:cubicBezTo>
                    <a:pt x="1914" y="213"/>
                    <a:pt x="1076" y="0"/>
                    <a:pt x="464" y="0"/>
                  </a:cubicBezTo>
                </a:path>
              </a:pathLst>
            </a:custGeom>
            <a:gradFill flip="none" rotWithShape="1">
              <a:gsLst>
                <a:gs pos="99000">
                  <a:schemeClr val="tx1">
                    <a:lumMod val="85000"/>
                    <a:lumOff val="15000"/>
                  </a:schemeClr>
                </a:gs>
                <a:gs pos="11000">
                  <a:schemeClr val="bg1">
                    <a:alpha val="0"/>
                  </a:schemeClr>
                </a:gs>
              </a:gsLst>
              <a:lin ang="102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3311519" y="4080588"/>
              <a:ext cx="1377769" cy="1303402"/>
            </a:xfrm>
            <a:custGeom>
              <a:avLst/>
              <a:gdLst>
                <a:gd name="T0" fmla="*/ 1607 w 1757"/>
                <a:gd name="T1" fmla="*/ 0 h 1662"/>
                <a:gd name="T2" fmla="*/ 1616 w 1757"/>
                <a:gd name="T3" fmla="*/ 154 h 1662"/>
                <a:gd name="T4" fmla="*/ 1248 w 1757"/>
                <a:gd name="T5" fmla="*/ 1042 h 1662"/>
                <a:gd name="T6" fmla="*/ 361 w 1757"/>
                <a:gd name="T7" fmla="*/ 1410 h 1662"/>
                <a:gd name="T8" fmla="*/ 0 w 1757"/>
                <a:gd name="T9" fmla="*/ 1356 h 1662"/>
                <a:gd name="T10" fmla="*/ 656 w 1757"/>
                <a:gd name="T11" fmla="*/ 1662 h 1662"/>
                <a:gd name="T12" fmla="*/ 1757 w 1757"/>
                <a:gd name="T13" fmla="*/ 330 h 1662"/>
                <a:gd name="T14" fmla="*/ 1607 w 1757"/>
                <a:gd name="T15" fmla="*/ 0 h 1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57" h="1662">
                  <a:moveTo>
                    <a:pt x="1607" y="0"/>
                  </a:moveTo>
                  <a:cubicBezTo>
                    <a:pt x="1613" y="51"/>
                    <a:pt x="1616" y="102"/>
                    <a:pt x="1616" y="154"/>
                  </a:cubicBezTo>
                  <a:cubicBezTo>
                    <a:pt x="1616" y="486"/>
                    <a:pt x="1483" y="807"/>
                    <a:pt x="1248" y="1042"/>
                  </a:cubicBezTo>
                  <a:cubicBezTo>
                    <a:pt x="1014" y="1276"/>
                    <a:pt x="692" y="1410"/>
                    <a:pt x="361" y="1410"/>
                  </a:cubicBezTo>
                  <a:cubicBezTo>
                    <a:pt x="238" y="1410"/>
                    <a:pt x="116" y="1391"/>
                    <a:pt x="0" y="1356"/>
                  </a:cubicBezTo>
                  <a:cubicBezTo>
                    <a:pt x="157" y="1564"/>
                    <a:pt x="396" y="1662"/>
                    <a:pt x="656" y="1662"/>
                  </a:cubicBezTo>
                  <a:cubicBezTo>
                    <a:pt x="1111" y="1662"/>
                    <a:pt x="1757" y="785"/>
                    <a:pt x="1757" y="330"/>
                  </a:cubicBezTo>
                  <a:cubicBezTo>
                    <a:pt x="1757" y="194"/>
                    <a:pt x="1700" y="85"/>
                    <a:pt x="1607" y="0"/>
                  </a:cubicBezTo>
                  <a:close/>
                </a:path>
              </a:pathLst>
            </a:custGeom>
            <a:solidFill>
              <a:srgbClr val="9B31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7" name="Freeform 24"/>
            <p:cNvSpPr>
              <a:spLocks/>
            </p:cNvSpPr>
            <p:nvPr/>
          </p:nvSpPr>
          <p:spPr bwMode="auto">
            <a:xfrm>
              <a:off x="3157143" y="3864793"/>
              <a:ext cx="1525837" cy="1512889"/>
            </a:xfrm>
            <a:custGeom>
              <a:avLst/>
              <a:gdLst>
                <a:gd name="T0" fmla="*/ 1946 w 1946"/>
                <a:gd name="T1" fmla="*/ 597 h 1929"/>
                <a:gd name="T2" fmla="*/ 845 w 1946"/>
                <a:gd name="T3" fmla="*/ 1929 h 1929"/>
                <a:gd name="T4" fmla="*/ 0 w 1946"/>
                <a:gd name="T5" fmla="*/ 969 h 1929"/>
                <a:gd name="T6" fmla="*/ 854 w 1946"/>
                <a:gd name="T7" fmla="*/ 0 h 1929"/>
                <a:gd name="T8" fmla="*/ 1946 w 1946"/>
                <a:gd name="T9" fmla="*/ 597 h 1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6" h="1929">
                  <a:moveTo>
                    <a:pt x="1946" y="597"/>
                  </a:moveTo>
                  <a:cubicBezTo>
                    <a:pt x="1946" y="1052"/>
                    <a:pt x="1300" y="1929"/>
                    <a:pt x="845" y="1929"/>
                  </a:cubicBezTo>
                  <a:cubicBezTo>
                    <a:pt x="390" y="1929"/>
                    <a:pt x="0" y="1630"/>
                    <a:pt x="0" y="969"/>
                  </a:cubicBezTo>
                  <a:cubicBezTo>
                    <a:pt x="0" y="514"/>
                    <a:pt x="154" y="0"/>
                    <a:pt x="854" y="0"/>
                  </a:cubicBezTo>
                  <a:cubicBezTo>
                    <a:pt x="1309" y="0"/>
                    <a:pt x="1946" y="143"/>
                    <a:pt x="1946" y="597"/>
                  </a:cubicBezTo>
                  <a:close/>
                </a:path>
              </a:pathLst>
            </a:custGeom>
            <a:solidFill>
              <a:srgbClr val="EF5C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8" name="Rectangle 33"/>
            <p:cNvSpPr txBox="1"/>
            <p:nvPr/>
          </p:nvSpPr>
          <p:spPr>
            <a:xfrm>
              <a:off x="3185953" y="4223363"/>
              <a:ext cx="1484327" cy="702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ts val="1800"/>
                </a:lnSpc>
              </a:pPr>
              <a:r>
                <a:rPr lang="es-CO" altLang="es-CO" sz="2000" b="1" dirty="0">
                  <a:solidFill>
                    <a:schemeClr val="bg1"/>
                  </a:solidFill>
                </a:rPr>
                <a:t>Apropiación de referentes de calidad</a:t>
              </a:r>
              <a:endParaRPr lang="es-CO" sz="20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83" t="39407" r="22834" b="23848"/>
          <a:stretch/>
        </p:blipFill>
        <p:spPr bwMode="auto">
          <a:xfrm rot="20888646">
            <a:off x="664564" y="3042454"/>
            <a:ext cx="2334369" cy="15749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0">
            <a:hlinkClick r:id="rId14" action="ppaction://hlinkfile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18620">
            <a:off x="3491338" y="2966178"/>
            <a:ext cx="2546111" cy="18165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>
            <a:hlinkClick r:id="rId16" action="ppaction://hlinkfile"/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19" r="4939"/>
          <a:stretch/>
        </p:blipFill>
        <p:spPr bwMode="auto">
          <a:xfrm rot="20908292">
            <a:off x="5836269" y="721676"/>
            <a:ext cx="2307772" cy="19571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33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5129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194" y="1001259"/>
            <a:ext cx="2043113" cy="364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Group 2"/>
          <p:cNvGrpSpPr/>
          <p:nvPr/>
        </p:nvGrpSpPr>
        <p:grpSpPr>
          <a:xfrm>
            <a:off x="444416" y="3123096"/>
            <a:ext cx="1819275" cy="2372433"/>
            <a:chOff x="1981200" y="3695700"/>
            <a:chExt cx="1879600" cy="2451100"/>
          </a:xfrm>
        </p:grpSpPr>
        <p:sp>
          <p:nvSpPr>
            <p:cNvPr id="14" name="Rounded Rectangle 29"/>
            <p:cNvSpPr/>
            <p:nvPr>
              <p:custDataLst>
                <p:tags r:id="rId5"/>
              </p:custDataLst>
            </p:nvPr>
          </p:nvSpPr>
          <p:spPr>
            <a:xfrm>
              <a:off x="1981200" y="3695700"/>
              <a:ext cx="1879600" cy="2451100"/>
            </a:xfrm>
            <a:prstGeom prst="roundRect">
              <a:avLst>
                <a:gd name="adj" fmla="val 9254"/>
              </a:avLst>
            </a:prstGeom>
            <a:gradFill>
              <a:gsLst>
                <a:gs pos="87000">
                  <a:schemeClr val="bg1">
                    <a:lumMod val="95000"/>
                  </a:schemeClr>
                </a:gs>
                <a:gs pos="0">
                  <a:schemeClr val="bg1"/>
                </a:gs>
                <a:gs pos="99000">
                  <a:schemeClr val="bg1">
                    <a:lumMod val="6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15" name="Group 30"/>
            <p:cNvGrpSpPr/>
            <p:nvPr/>
          </p:nvGrpSpPr>
          <p:grpSpPr>
            <a:xfrm>
              <a:off x="2275205" y="3884295"/>
              <a:ext cx="1291590" cy="1887855"/>
              <a:chOff x="2281741" y="3884295"/>
              <a:chExt cx="1291590" cy="1887855"/>
            </a:xfrm>
          </p:grpSpPr>
          <p:sp>
            <p:nvSpPr>
              <p:cNvPr id="16" name="Rectangle 16"/>
              <p:cNvSpPr/>
              <p:nvPr>
                <p:custDataLst>
                  <p:tags r:id="rId6"/>
                </p:custDataLst>
              </p:nvPr>
            </p:nvSpPr>
            <p:spPr>
              <a:xfrm>
                <a:off x="2325556" y="4895850"/>
                <a:ext cx="504825" cy="876300"/>
              </a:xfrm>
              <a:prstGeom prst="rect">
                <a:avLst/>
              </a:prstGeom>
              <a:solidFill>
                <a:srgbClr val="FFD525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Rectangle 25"/>
              <p:cNvSpPr/>
              <p:nvPr>
                <p:custDataLst>
                  <p:tags r:id="rId7"/>
                </p:custDataLst>
              </p:nvPr>
            </p:nvSpPr>
            <p:spPr>
              <a:xfrm>
                <a:off x="3068506" y="4057650"/>
                <a:ext cx="504825" cy="1714500"/>
              </a:xfrm>
              <a:prstGeom prst="rect">
                <a:avLst/>
              </a:prstGeom>
              <a:solidFill>
                <a:srgbClr val="ED770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Freeform 24"/>
              <p:cNvSpPr/>
              <p:nvPr>
                <p:custDataLst>
                  <p:tags r:id="rId8"/>
                </p:custDataLst>
              </p:nvPr>
            </p:nvSpPr>
            <p:spPr>
              <a:xfrm>
                <a:off x="2281741" y="3884295"/>
                <a:ext cx="1219200" cy="1074420"/>
              </a:xfrm>
              <a:custGeom>
                <a:avLst/>
                <a:gdLst>
                  <a:gd name="connsiteX0" fmla="*/ 0 w 1219200"/>
                  <a:gd name="connsiteY0" fmla="*/ 807720 h 1074420"/>
                  <a:gd name="connsiteX1" fmla="*/ 350520 w 1219200"/>
                  <a:gd name="connsiteY1" fmla="*/ 1074420 h 1074420"/>
                  <a:gd name="connsiteX2" fmla="*/ 1219200 w 1219200"/>
                  <a:gd name="connsiteY2" fmla="*/ 0 h 107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19200" h="1074420">
                    <a:moveTo>
                      <a:pt x="0" y="807720"/>
                    </a:moveTo>
                    <a:lnTo>
                      <a:pt x="350520" y="1074420"/>
                    </a:lnTo>
                    <a:lnTo>
                      <a:pt x="1219200" y="0"/>
                    </a:lnTo>
                  </a:path>
                </a:pathLst>
              </a:custGeom>
              <a:noFill/>
              <a:ln w="381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  <p:sp>
            <p:nvSpPr>
              <p:cNvPr id="19" name="Oval 17"/>
              <p:cNvSpPr/>
              <p:nvPr>
                <p:custDataLst>
                  <p:tags r:id="rId9"/>
                </p:custDataLst>
              </p:nvPr>
            </p:nvSpPr>
            <p:spPr>
              <a:xfrm>
                <a:off x="2571301" y="4890135"/>
                <a:ext cx="114300" cy="114300"/>
              </a:xfrm>
              <a:prstGeom prst="ellipse">
                <a:avLst/>
              </a:prstGeom>
              <a:solidFill>
                <a:srgbClr val="ED770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Oval 27"/>
              <p:cNvSpPr/>
              <p:nvPr>
                <p:custDataLst>
                  <p:tags r:id="rId10"/>
                </p:custDataLst>
              </p:nvPr>
            </p:nvSpPr>
            <p:spPr>
              <a:xfrm>
                <a:off x="3302821" y="3990975"/>
                <a:ext cx="114300" cy="114300"/>
              </a:xfrm>
              <a:prstGeom prst="ellipse">
                <a:avLst/>
              </a:prstGeom>
              <a:solidFill>
                <a:srgbClr val="ED770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1" name="Rectangle 47"/>
          <p:cNvSpPr/>
          <p:nvPr/>
        </p:nvSpPr>
        <p:spPr>
          <a:xfrm>
            <a:off x="2428647" y="1347315"/>
            <a:ext cx="6527402" cy="4685185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600" dirty="0"/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600" dirty="0"/>
              <a:t>El </a:t>
            </a:r>
            <a:r>
              <a:rPr lang="es-CO" sz="1600" b="1" dirty="0">
                <a:solidFill>
                  <a:srgbClr val="FF0000"/>
                </a:solidFill>
              </a:rPr>
              <a:t>91%</a:t>
            </a:r>
            <a:r>
              <a:rPr lang="es-CO" sz="1600" dirty="0"/>
              <a:t> de los docentes tiene en cuenta, siempre o casi siempre, el uso pedagógico de los textos escolares en su planeación de clase.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600" dirty="0"/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600" dirty="0"/>
              <a:t>El </a:t>
            </a:r>
            <a:r>
              <a:rPr lang="es-CO" sz="1600" b="1" dirty="0">
                <a:solidFill>
                  <a:srgbClr val="FF0000"/>
                </a:solidFill>
              </a:rPr>
              <a:t>88%</a:t>
            </a:r>
            <a:r>
              <a:rPr lang="es-CO" sz="1600" dirty="0"/>
              <a:t> de los docentes considera que el proceso de acompañamiento ha generado espacios de reflexión sobre el uso pedagógico de los textos escolares.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600" dirty="0"/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600" dirty="0"/>
              <a:t>El </a:t>
            </a:r>
            <a:r>
              <a:rPr lang="es-CO" sz="1600" b="1" dirty="0">
                <a:solidFill>
                  <a:srgbClr val="FF0000"/>
                </a:solidFill>
              </a:rPr>
              <a:t>89%</a:t>
            </a:r>
            <a:r>
              <a:rPr lang="es-CO" sz="1600" b="1" dirty="0"/>
              <a:t> </a:t>
            </a:r>
            <a:r>
              <a:rPr lang="es-CO" sz="1600" dirty="0"/>
              <a:t>de los estudiantes hace uso del texto escolar en las prácticas de aula lideradas por los docentes</a:t>
            </a:r>
            <a:r>
              <a:rPr lang="es-CO" sz="1600" dirty="0" smtClean="0"/>
              <a:t>.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600" dirty="0" smtClean="0"/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600" dirty="0"/>
              <a:t>Aproximadamente el </a:t>
            </a:r>
            <a:r>
              <a:rPr lang="es-CO" sz="1600" b="1" dirty="0">
                <a:solidFill>
                  <a:srgbClr val="FF0000"/>
                </a:solidFill>
              </a:rPr>
              <a:t>90%</a:t>
            </a:r>
            <a:r>
              <a:rPr lang="es-CO" sz="1600" dirty="0">
                <a:solidFill>
                  <a:srgbClr val="FF0000"/>
                </a:solidFill>
              </a:rPr>
              <a:t> </a:t>
            </a:r>
            <a:r>
              <a:rPr lang="es-CO" sz="1600" dirty="0"/>
              <a:t>de los docentes considera que el acompañamiento del tutor ha generado una cultura de la evaluación que le permite transformar sus prácticas.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600" dirty="0"/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600" dirty="0"/>
              <a:t>El </a:t>
            </a:r>
            <a:r>
              <a:rPr lang="es-CO" sz="1600" b="1" dirty="0">
                <a:solidFill>
                  <a:srgbClr val="FF0000"/>
                </a:solidFill>
              </a:rPr>
              <a:t>89%</a:t>
            </a:r>
            <a:r>
              <a:rPr lang="es-CO" sz="1600" dirty="0">
                <a:solidFill>
                  <a:srgbClr val="FF0000"/>
                </a:solidFill>
              </a:rPr>
              <a:t> </a:t>
            </a:r>
            <a:r>
              <a:rPr lang="es-CO" sz="1600" dirty="0"/>
              <a:t>de los docentes tiene en cuenta, siempre o casis siempre, los resultados de la prueba diagnóstica para realizar sus planeaciones</a:t>
            </a:r>
            <a:r>
              <a:rPr lang="es-CO" sz="1600" dirty="0" smtClean="0"/>
              <a:t>.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600" dirty="0" smtClean="0">
                <a:solidFill>
                  <a:schemeClr val="tx1"/>
                </a:solidFill>
              </a:rPr>
              <a:t>El </a:t>
            </a:r>
            <a:r>
              <a:rPr lang="es-CO" sz="1600" b="1" dirty="0" smtClean="0">
                <a:solidFill>
                  <a:srgbClr val="FF0000"/>
                </a:solidFill>
              </a:rPr>
              <a:t>98%</a:t>
            </a:r>
            <a:r>
              <a:rPr lang="es-CO" sz="1600" dirty="0" smtClean="0">
                <a:solidFill>
                  <a:schemeClr val="tx1"/>
                </a:solidFill>
              </a:rPr>
              <a:t> de los tutores se encuentran satisfechos frente al programa.</a:t>
            </a:r>
          </a:p>
          <a:p>
            <a:pPr marL="800100" lvl="1" indent="-342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600" dirty="0" smtClean="0">
              <a:solidFill>
                <a:schemeClr val="tx1"/>
              </a:solidFill>
            </a:endParaRPr>
          </a:p>
        </p:txBody>
      </p:sp>
      <p:sp>
        <p:nvSpPr>
          <p:cNvPr id="23" name="Rectangle 50"/>
          <p:cNvSpPr/>
          <p:nvPr>
            <p:custDataLst>
              <p:tags r:id="rId2"/>
            </p:custDataLst>
          </p:nvPr>
        </p:nvSpPr>
        <p:spPr>
          <a:xfrm>
            <a:off x="2403126" y="784335"/>
            <a:ext cx="6530470" cy="638647"/>
          </a:xfrm>
          <a:prstGeom prst="rect">
            <a:avLst/>
          </a:prstGeom>
          <a:solidFill>
            <a:srgbClr val="ED770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14"/>
          <p:cNvSpPr txBox="1"/>
          <p:nvPr>
            <p:custDataLst>
              <p:tags r:id="rId3"/>
            </p:custDataLst>
          </p:nvPr>
        </p:nvSpPr>
        <p:spPr>
          <a:xfrm>
            <a:off x="2853898" y="1103659"/>
            <a:ext cx="5676900" cy="243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900"/>
              </a:lnSpc>
            </a:pPr>
            <a:r>
              <a:rPr lang="es-CO" altLang="es-CO" sz="3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cuesta percepción a docentes</a:t>
            </a:r>
            <a:endParaRPr lang="es-CO" sz="3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31" name="30 Rectángulo redondeado"/>
          <p:cNvSpPr/>
          <p:nvPr/>
        </p:nvSpPr>
        <p:spPr bwMode="auto">
          <a:xfrm>
            <a:off x="7321835" y="1210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398035" y="1210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pic>
        <p:nvPicPr>
          <p:cNvPr id="33" name="Picture 10">
            <a:hlinkClick r:id="rId13" action="ppaction://hlinkfile"/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17" y="1190389"/>
            <a:ext cx="1534705" cy="163411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374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0" y="1103888"/>
            <a:ext cx="8432800" cy="5711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48 Rectángulo redondeado"/>
          <p:cNvSpPr/>
          <p:nvPr/>
        </p:nvSpPr>
        <p:spPr bwMode="auto">
          <a:xfrm>
            <a:off x="7321835" y="1210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0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398035" y="1210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99" t="10403" r="64023" b="78535"/>
          <a:stretch/>
        </p:blipFill>
        <p:spPr bwMode="auto">
          <a:xfrm>
            <a:off x="2031999" y="6014846"/>
            <a:ext cx="2077737" cy="543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1 Título"/>
          <p:cNvSpPr txBox="1">
            <a:spLocks/>
          </p:cNvSpPr>
          <p:nvPr/>
        </p:nvSpPr>
        <p:spPr>
          <a:xfrm>
            <a:off x="-134231" y="232284"/>
            <a:ext cx="7658607" cy="9848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200" b="1" dirty="0" smtClean="0">
                <a:solidFill>
                  <a:srgbClr val="C00000"/>
                </a:solidFill>
                <a:latin typeface="Arial"/>
              </a:rPr>
              <a:t>Comunidades de Aprendizaje – Estudio de Clase</a:t>
            </a:r>
            <a:endParaRPr lang="es-CO" sz="2200" b="1" dirty="0">
              <a:solidFill>
                <a:srgbClr val="C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3838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 redondeado"/>
          <p:cNvSpPr/>
          <p:nvPr/>
        </p:nvSpPr>
        <p:spPr>
          <a:xfrm>
            <a:off x="50801" y="1358900"/>
            <a:ext cx="5781964" cy="3748968"/>
          </a:xfrm>
          <a:prstGeom prst="roundRect">
            <a:avLst/>
          </a:prstGeom>
          <a:ln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35669" y="786163"/>
            <a:ext cx="7658607" cy="430887"/>
          </a:xfrm>
        </p:spPr>
        <p:txBody>
          <a:bodyPr/>
          <a:lstStyle/>
          <a:p>
            <a:r>
              <a:rPr lang="es-CO" sz="2800" b="1" dirty="0" smtClean="0">
                <a:solidFill>
                  <a:srgbClr val="C00000"/>
                </a:solidFill>
                <a:latin typeface="Arial"/>
              </a:rPr>
              <a:t>Sistematización </a:t>
            </a:r>
            <a:r>
              <a:rPr lang="es-CO" sz="2800" b="1" dirty="0">
                <a:solidFill>
                  <a:srgbClr val="C00000"/>
                </a:solidFill>
                <a:latin typeface="Arial"/>
              </a:rPr>
              <a:t>de </a:t>
            </a:r>
            <a:r>
              <a:rPr lang="es-CO" sz="2800" b="1" dirty="0" smtClean="0">
                <a:solidFill>
                  <a:srgbClr val="C00000"/>
                </a:solidFill>
                <a:latin typeface="Arial"/>
              </a:rPr>
              <a:t>experiencias</a:t>
            </a:r>
            <a:endParaRPr lang="es-CO" sz="2800" b="1" dirty="0">
              <a:solidFill>
                <a:srgbClr val="C00000"/>
              </a:solidFill>
              <a:latin typeface="Arial"/>
            </a:endParaRPr>
          </a:p>
        </p:txBody>
      </p:sp>
      <p:graphicFrame>
        <p:nvGraphicFramePr>
          <p:cNvPr id="3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1779946"/>
              </p:ext>
            </p:extLst>
          </p:nvPr>
        </p:nvGraphicFramePr>
        <p:xfrm>
          <a:off x="207819" y="1512518"/>
          <a:ext cx="8513821" cy="3768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4">
            <a:hlinkClick r:id="rId8" action="ppaction://hlinkfile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73" y="2936253"/>
            <a:ext cx="1573022" cy="19385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Rectángulo redondeado"/>
          <p:cNvSpPr/>
          <p:nvPr/>
        </p:nvSpPr>
        <p:spPr>
          <a:xfrm>
            <a:off x="50801" y="5275228"/>
            <a:ext cx="5781964" cy="10138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es-CO" sz="2800" b="1" dirty="0">
                <a:solidFill>
                  <a:srgbClr val="C00000"/>
                </a:solidFill>
              </a:rPr>
              <a:t>217</a:t>
            </a:r>
            <a:r>
              <a:rPr lang="es-CO" sz="2000" b="1" dirty="0"/>
              <a:t> experiencias postuladas y</a:t>
            </a:r>
            <a:r>
              <a:rPr lang="es-CO" sz="2000" b="1" dirty="0">
                <a:solidFill>
                  <a:srgbClr val="C00000"/>
                </a:solidFill>
              </a:rPr>
              <a:t> </a:t>
            </a:r>
            <a:r>
              <a:rPr lang="es-CO" altLang="es-CO" sz="2800" b="1" dirty="0">
                <a:solidFill>
                  <a:srgbClr val="C00000"/>
                </a:solidFill>
              </a:rPr>
              <a:t>107</a:t>
            </a:r>
            <a:r>
              <a:rPr lang="es-CO" altLang="es-CO" sz="2000" b="1" dirty="0">
                <a:solidFill>
                  <a:srgbClr val="C00000"/>
                </a:solidFill>
              </a:rPr>
              <a:t> </a:t>
            </a:r>
            <a:r>
              <a:rPr lang="es-CO" altLang="es-CO" sz="2000" b="1" dirty="0"/>
              <a:t>experiencias de transformación de prácticas de aula socializadas en </a:t>
            </a:r>
            <a:r>
              <a:rPr lang="es-CO" altLang="es-CO" sz="2000" b="1" dirty="0" smtClean="0"/>
              <a:t>las Ferias Regionales </a:t>
            </a:r>
            <a:r>
              <a:rPr lang="es-CO" altLang="es-CO" sz="2000" b="1" dirty="0"/>
              <a:t>del Conocimiento</a:t>
            </a:r>
            <a:endParaRPr lang="es-CO" sz="2000" dirty="0"/>
          </a:p>
        </p:txBody>
      </p:sp>
      <p:pic>
        <p:nvPicPr>
          <p:cNvPr id="2050" name="Picture 2">
            <a:hlinkClick r:id="rId10" action="ppaction://hlinkfile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8627" y="2797356"/>
            <a:ext cx="1540249" cy="19160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6248400" y="5107868"/>
            <a:ext cx="2717956" cy="143521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0960" tIns="0" rIns="20320" bIns="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O" b="1" kern="1200" dirty="0" smtClean="0"/>
              <a:t>Experiencia inspiradora que fue seleccionada en el Foro Educativo Regional realizado en la ciudad de Barranquilla</a:t>
            </a:r>
            <a:endParaRPr lang="es-CO" b="1" kern="1200" dirty="0"/>
          </a:p>
        </p:txBody>
      </p:sp>
      <p:sp>
        <p:nvSpPr>
          <p:cNvPr id="11" name="10 Rectángulo redondeado"/>
          <p:cNvSpPr/>
          <p:nvPr/>
        </p:nvSpPr>
        <p:spPr bwMode="auto">
          <a:xfrm>
            <a:off x="7359935" y="702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36135" y="702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585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 redondeado">
            <a:hlinkClick r:id="rId3" action="ppaction://hlinkfile"/>
          </p:cNvPr>
          <p:cNvSpPr/>
          <p:nvPr/>
        </p:nvSpPr>
        <p:spPr>
          <a:xfrm>
            <a:off x="6584698" y="1471914"/>
            <a:ext cx="2078037" cy="129151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s-CO" sz="1600" dirty="0"/>
          </a:p>
        </p:txBody>
      </p:sp>
      <p:sp>
        <p:nvSpPr>
          <p:cNvPr id="9" name="8 Rectángulo redondeado">
            <a:hlinkClick r:id="rId4" action="ppaction://hlinkfile"/>
          </p:cNvPr>
          <p:cNvSpPr/>
          <p:nvPr/>
        </p:nvSpPr>
        <p:spPr>
          <a:xfrm>
            <a:off x="6584698" y="3048301"/>
            <a:ext cx="2078037" cy="153114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100" dirty="0" smtClean="0">
                <a:hlinkClick r:id="rId5" action="ppaction://hlinkfile"/>
              </a:rPr>
              <a:t>.</a:t>
            </a:r>
            <a:endParaRPr lang="es-CO" sz="1100" dirty="0"/>
          </a:p>
        </p:txBody>
      </p:sp>
      <p:sp>
        <p:nvSpPr>
          <p:cNvPr id="10" name="9 Rectángulo redondeado"/>
          <p:cNvSpPr/>
          <p:nvPr/>
        </p:nvSpPr>
        <p:spPr>
          <a:xfrm>
            <a:off x="6584698" y="4833445"/>
            <a:ext cx="2078037" cy="122713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b="1" dirty="0"/>
              <a:t>Documento: </a:t>
            </a:r>
          </a:p>
          <a:p>
            <a:pPr algn="ctr">
              <a:defRPr/>
            </a:pPr>
            <a:r>
              <a:rPr lang="es-CO" sz="1600" dirty="0"/>
              <a:t>Acta de evaluación y cierre del proceso. Carpeta de memoria para la institución .</a:t>
            </a:r>
          </a:p>
        </p:txBody>
      </p:sp>
      <p:graphicFrame>
        <p:nvGraphicFramePr>
          <p:cNvPr id="14" name="17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108314"/>
              </p:ext>
            </p:extLst>
          </p:nvPr>
        </p:nvGraphicFramePr>
        <p:xfrm>
          <a:off x="806117" y="1517579"/>
          <a:ext cx="5642810" cy="4478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7171" name="Picture 3">
            <a:hlinkClick r:id="rId11" action="ppaction://hlinkfile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158" y="1516106"/>
            <a:ext cx="1479884" cy="1147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>
            <a:hlinkClick r:id="rId13" action="ppaction://hlinkfile"/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350" y="3105686"/>
            <a:ext cx="1852732" cy="128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CuadroTexto"/>
          <p:cNvSpPr txBox="1"/>
          <p:nvPr/>
        </p:nvSpPr>
        <p:spPr>
          <a:xfrm rot="862849">
            <a:off x="8367962" y="2677832"/>
            <a:ext cx="878305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sz="4400" b="1" dirty="0">
              <a:ln w="1905"/>
              <a:solidFill>
                <a:srgbClr val="FF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es-CO" dirty="0"/>
          </a:p>
        </p:txBody>
      </p:sp>
      <p:sp>
        <p:nvSpPr>
          <p:cNvPr id="13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18306" y="419096"/>
            <a:ext cx="5839794" cy="954107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Desarrollo de la Capacidad de Formación </a:t>
            </a:r>
            <a:r>
              <a:rPr lang="es-CO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C</a:t>
            </a:r>
            <a:r>
              <a:rPr lang="es-CO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ontinua</a:t>
            </a:r>
            <a:endParaRPr lang="es-CO" sz="2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15" name="14 CuadroTexto">
            <a:hlinkClick r:id="rId15" action="ppaction://hlinkfile"/>
          </p:cNvPr>
          <p:cNvSpPr txBox="1"/>
          <p:nvPr/>
        </p:nvSpPr>
        <p:spPr>
          <a:xfrm>
            <a:off x="8199912" y="1646844"/>
            <a:ext cx="803564" cy="116955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s-CO" sz="70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/>
              </a:rPr>
              <a:t></a:t>
            </a:r>
            <a:endParaRPr lang="es-CO" sz="70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6" name="15 CuadroTexto">
            <a:hlinkClick r:id="rId16" action="ppaction://hlinkfile"/>
          </p:cNvPr>
          <p:cNvSpPr txBox="1"/>
          <p:nvPr/>
        </p:nvSpPr>
        <p:spPr>
          <a:xfrm>
            <a:off x="8340436" y="2814731"/>
            <a:ext cx="803564" cy="116955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s-CO" sz="70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sym typeface="Wingdings"/>
              </a:rPr>
              <a:t></a:t>
            </a:r>
            <a:endParaRPr lang="es-CO" sz="70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6341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ingle Corner Rectangle 59"/>
          <p:cNvSpPr>
            <a:spLocks/>
          </p:cNvSpPr>
          <p:nvPr>
            <p:custDataLst>
              <p:tags r:id="rId1"/>
            </p:custDataLst>
          </p:nvPr>
        </p:nvSpPr>
        <p:spPr>
          <a:xfrm rot="10800000">
            <a:off x="6520441" y="3053221"/>
            <a:ext cx="2052122" cy="2325014"/>
          </a:xfrm>
          <a:prstGeom prst="snip1Rect">
            <a:avLst>
              <a:gd name="adj" fmla="val 15832"/>
            </a:avLst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>
              <a:solidFill>
                <a:schemeClr val="tx1"/>
              </a:solidFill>
            </a:endParaRPr>
          </a:p>
        </p:txBody>
      </p:sp>
      <p:sp>
        <p:nvSpPr>
          <p:cNvPr id="7" name="Rectangle 48"/>
          <p:cNvSpPr/>
          <p:nvPr>
            <p:custDataLst>
              <p:tags r:id="rId2"/>
            </p:custDataLst>
          </p:nvPr>
        </p:nvSpPr>
        <p:spPr>
          <a:xfrm>
            <a:off x="523874" y="1726803"/>
            <a:ext cx="5201807" cy="416504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16" name="Right Arrow 37"/>
          <p:cNvSpPr/>
          <p:nvPr>
            <p:custDataLst>
              <p:tags r:id="rId3"/>
            </p:custDataLst>
          </p:nvPr>
        </p:nvSpPr>
        <p:spPr>
          <a:xfrm>
            <a:off x="5919759" y="3510965"/>
            <a:ext cx="466779" cy="1409523"/>
          </a:xfrm>
          <a:prstGeom prst="rightArrow">
            <a:avLst>
              <a:gd name="adj1" fmla="val 79978"/>
              <a:gd name="adj2" fmla="val 67082"/>
            </a:avLst>
          </a:prstGeom>
          <a:solidFill>
            <a:srgbClr val="C00000"/>
          </a:solidFill>
          <a:ln>
            <a:noFill/>
          </a:ln>
          <a:effectLst>
            <a:outerShdw blurRad="50800" dist="38100" dir="5400000" algn="ctr" rotWithShape="0">
              <a:schemeClr val="tx1">
                <a:alpha val="16000"/>
              </a:schemeClr>
            </a:outerShdw>
          </a:effectLst>
        </p:spPr>
        <p:txBody>
          <a:bodyPr vert="horz" wrap="square" lIns="126000" tIns="91440" rIns="126000" bIns="91440" numCol="1" anchor="ctr" anchorCtr="0" compatLnSpc="1">
            <a:prstTxWarp prst="textNoShape">
              <a:avLst/>
            </a:prstTxWarp>
          </a:bodyPr>
          <a:lstStyle/>
          <a:p>
            <a:endParaRPr lang="es-CO" dirty="0" err="1"/>
          </a:p>
        </p:txBody>
      </p:sp>
      <p:cxnSp>
        <p:nvCxnSpPr>
          <p:cNvPr id="17" name="Straight Connector 38"/>
          <p:cNvCxnSpPr/>
          <p:nvPr>
            <p:custDataLst>
              <p:tags r:id="rId4"/>
            </p:custDataLst>
          </p:nvPr>
        </p:nvCxnSpPr>
        <p:spPr>
          <a:xfrm>
            <a:off x="5919760" y="2133203"/>
            <a:ext cx="0" cy="4165047"/>
          </a:xfrm>
          <a:prstGeom prst="line">
            <a:avLst/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75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AutoShape 25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23874" y="697359"/>
            <a:ext cx="5010149" cy="92333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s-CO" sz="20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Sistema de Información Estratégico para el Mejoramiento de las Prácticas Educativas</a:t>
            </a:r>
          </a:p>
        </p:txBody>
      </p:sp>
      <p:sp>
        <p:nvSpPr>
          <p:cNvPr id="19" name="Rectangle 51"/>
          <p:cNvSpPr/>
          <p:nvPr>
            <p:custDataLst>
              <p:tags r:id="rId6"/>
            </p:custDataLst>
          </p:nvPr>
        </p:nvSpPr>
        <p:spPr>
          <a:xfrm>
            <a:off x="483941" y="1665684"/>
            <a:ext cx="5201807" cy="6111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 err="1" smtClean="0">
              <a:solidFill>
                <a:schemeClr val="tx1"/>
              </a:solidFill>
            </a:endParaRPr>
          </a:p>
        </p:txBody>
      </p:sp>
      <p:sp>
        <p:nvSpPr>
          <p:cNvPr id="20" name="AutoShape 25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701345" y="3203498"/>
            <a:ext cx="1756917" cy="184665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95350">
              <a:tabLst>
                <a:tab pos="269875" algn="l"/>
              </a:tabLst>
            </a:pPr>
            <a:r>
              <a:rPr lang="es-CO" sz="2000" b="1" dirty="0" smtClean="0">
                <a:latin typeface="Arial Narrow" pitchFamily="34" charset="0"/>
                <a:ea typeface="+mj-ea"/>
                <a:cs typeface="+mj-cs"/>
              </a:rPr>
              <a:t>Seguimiento en línea de las acciones realizadas en los Establecimientos Educativos </a:t>
            </a:r>
            <a:endParaRPr lang="es-CO" sz="2000" b="1" dirty="0"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1" name="Right Triangle 60"/>
          <p:cNvSpPr/>
          <p:nvPr/>
        </p:nvSpPr>
        <p:spPr>
          <a:xfrm rot="10800000">
            <a:off x="6520441" y="5054455"/>
            <a:ext cx="323780" cy="323780"/>
          </a:xfrm>
          <a:prstGeom prst="rt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126000" tIns="91440" rIns="126000" bIns="91440" numCol="1" anchor="ctr" anchorCtr="0" compatLnSpc="1">
            <a:prstTxWarp prst="textNoShape">
              <a:avLst/>
            </a:prstTxWarp>
          </a:bodyPr>
          <a:lstStyle/>
          <a:p>
            <a:endParaRPr lang="es-CO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2" name="21 Rectángulo redondeado"/>
          <p:cNvSpPr/>
          <p:nvPr/>
        </p:nvSpPr>
        <p:spPr bwMode="auto">
          <a:xfrm>
            <a:off x="7321835" y="121055"/>
            <a:ext cx="1672314" cy="578272"/>
          </a:xfrm>
          <a:prstGeom prst="roundRect">
            <a:avLst>
              <a:gd name="adj" fmla="val 10000"/>
            </a:avLst>
          </a:prstGeom>
          <a:solidFill>
            <a:schemeClr val="tx2">
              <a:lumMod val="75000"/>
              <a:lumOff val="2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Title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398035" y="121055"/>
            <a:ext cx="1558014" cy="52322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ogros</a:t>
            </a:r>
            <a:endParaRPr lang="es-CO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53" y="2062458"/>
            <a:ext cx="2683176" cy="16970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300" y="2062458"/>
            <a:ext cx="2540000" cy="16734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02237">
            <a:off x="1021046" y="4065428"/>
            <a:ext cx="3843055" cy="23018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18" t="426" r="3117" b="-426"/>
          <a:stretch/>
        </p:blipFill>
        <p:spPr bwMode="auto">
          <a:xfrm>
            <a:off x="4739308" y="4426664"/>
            <a:ext cx="1089992" cy="7157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68726">
            <a:off x="4803407" y="5197359"/>
            <a:ext cx="835889" cy="83897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28 CuadroTexto"/>
          <p:cNvSpPr txBox="1"/>
          <p:nvPr/>
        </p:nvSpPr>
        <p:spPr>
          <a:xfrm>
            <a:off x="5229208" y="1159024"/>
            <a:ext cx="3230026" cy="798888"/>
          </a:xfrm>
          <a:prstGeom prst="rect">
            <a:avLst/>
          </a:prstGeom>
          <a:solidFill>
            <a:srgbClr val="C00000"/>
          </a:solidFill>
        </p:spPr>
        <p:txBody>
          <a:bodyPr wrap="square" lIns="91430" tIns="45716" rIns="91430" bIns="45716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s-CO" sz="4600" b="1" spc="50" dirty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IEMPRE</a:t>
            </a:r>
          </a:p>
        </p:txBody>
      </p:sp>
    </p:spTree>
    <p:extLst>
      <p:ext uri="{BB962C8B-B14F-4D97-AF65-F5344CB8AC3E}">
        <p14:creationId xmlns:p14="http://schemas.microsoft.com/office/powerpoint/2010/main" val="339970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Ane_u0IE2z7GMxmA.n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O8Z9CRnU2IDnY6GAWp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Gzj0pm_02ac962HjhvD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ayv55mfk6QQuf1oGwsF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kU7RDtLUKE2tL9pJf2B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aLtIhD6U69wH.DI91Hj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kU7RDtLUKE2tL9pJf2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4NwcpdD06F7uul8XEs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XZWCMuZ0..QoKgr6gc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"/>
  <p:tag name="LTOP" val=" 412.125"/>
  <p:tag name="THINKCELLSHAPEDONOTDELETE" val="pHr9W9VlV0UGZ7NbT92AW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521.625"/>
  <p:tag name="LTOP" val=" 221"/>
  <p:tag name="THINKCELLSHAPEDONOTDELETE" val="pcML1TmNnSE2OzVJdWDtSU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6"/>
  <p:tag name="LTOP" val=" 221"/>
  <p:tag name="THINKCELLSHAPEDONOTDELETE" val="p1R8dABmasEKt9p6b0JJ2L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521.625"/>
  <p:tag name="LTOP" val=" 221"/>
  <p:tag name="THINKCELLSHAPEDONOTDELETE" val="pGKLOkcGdVES4QFhN8Ofr.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XA2O51b0e4J8Eh2nlo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sZTWpih06.rcnpZDFq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44KbGudkmEIsVrtUgO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rPcoC2k6g.eTrjq.B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Qj4gBwB0CHaI1xbOXz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wJsAsMH0K05HJsR5rc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syvMtAxkq1zLihZdwb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.Wl0x_ZkC8E3dJvQ93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gm1C6DUmfo2o_y.dt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ABeBv4EWh81w5Y7jMS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q0emsOtU6pJZxginX9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O8Z9CRnU2IDnY6GAWp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gRlL3v9UWyL83DFSYt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q0emsOtU6pJZxginX9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O8Z9CRnU2IDnY6GAWp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q0emsOtU6pJZxginX9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O8Z9CRnU2IDnY6GAWp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3C9Z.d0kuRs2SdO.EL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DI7.nr0U2PscFMLx4u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xuUDKEOUeHjiAqTxsu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HqWn16ukupp9bX602K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DqnQfL2kqDoiwFb10y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npIaUjRUK6rnnj_uBq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N.0LFA70yTdER0UZXw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St9LoJlkm8BN6Lpq.n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R0hF9kKQNLOJvw3u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9MgQv4v0GOgV4yYuag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R0hF9kKQNLOJvw3u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9MgQv4v0GOgV4yYuag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gRlL3v9UWyL83DFSYt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R0hF9kKQNLOJvw3u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9MgQv4v0GOgV4yYuag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85NBzjqUKBugOvBIqF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ABeBv4EWh81w5Y7jM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DqnQfL2kqDoiwFb10y1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HK.JrSVkCPhFSDxCQT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o4yudCYUaw.WqLduYV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zzgqTJvEK8gbp6oxrG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sWUbEOBkSIcupJprDl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3C9Z.d0kuRs2SdO.EL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ibLbcEIkifjYAm45Rw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jtNCGWdUW6YiCnFkHD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aLtIhD6U69wH.DI91H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NlDBMakOyNaU1vUFJ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Gzj0pm_02ac962Hjhv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ayv55mfk6QQuf1oGws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7e9CouaUailr0s3nKt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dk24_lky3zaRmi7m0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K4nuiyRkWymADij_JV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kU7RDtLUKE2tL9pJf2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DmDRNAnkeqqA3036hT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NBAHXdaEWK9LoWLOW50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eek78DHkeUQ8XS5q9N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T_D_27WUyW0u9TKL1o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pmKM96TUqgCI5KZmKu6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sciS5VOkOGgBKumsEE6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4RJYiVlEOcpX7lg4U8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CgHCGWrEqpRNgudGJC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pmKM96TUqgCI5KZmKu6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VJXrHKGkGLNj9aZ.Gz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4KiUA4akK0xOVl6dD8I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aj2RnVE0OvO4HRfbOv1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N.0LFA70yTdER0UZXw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HK.JrSVkCPhFSDxCQT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o4yudCYUaw.WqLduYV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zzgqTJvEK8gbp6oxrG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q0emsOtU6pJZxginX94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sWUbEOBkSIcupJprDlU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ibLbcEIkifjYAm45Rw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jtNCGWdUW6YiCnFkHD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dk24_lky3zaRmi7m0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mdk24_lky3zaRmi7m0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DF7g9_0UiO458j3jzzv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b96lIbH0S3VGhRiz9pN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q2hk7IzkO7ZA8hoyDs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aLtIhD6U69wH.DI91Hj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96</TotalTime>
  <Words>1001</Words>
  <Application>Microsoft Office PowerPoint</Application>
  <PresentationFormat>Presentación en pantalla (4:3)</PresentationFormat>
  <Paragraphs>202</Paragraphs>
  <Slides>26</Slides>
  <Notes>2</Notes>
  <HiddenSlides>1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27" baseType="lpstr">
      <vt:lpstr>Tema de Office</vt:lpstr>
      <vt:lpstr>Presentación de PowerPoint</vt:lpstr>
      <vt:lpstr>Logros</vt:lpstr>
      <vt:lpstr>Presentación de PowerPoint</vt:lpstr>
      <vt:lpstr>Presentación de PowerPoint</vt:lpstr>
      <vt:lpstr>Presentación de PowerPoint</vt:lpstr>
      <vt:lpstr>Presentación de PowerPoint</vt:lpstr>
      <vt:lpstr>Sistematización de experienci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et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¿cómo se materializa la propuesta?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quí el título</dc:title>
  <dc:creator>jkjh</dc:creator>
  <cp:lastModifiedBy>Yinna Paola Higuera Bernal</cp:lastModifiedBy>
  <cp:revision>258</cp:revision>
  <dcterms:created xsi:type="dcterms:W3CDTF">2014-06-13T19:13:17Z</dcterms:created>
  <dcterms:modified xsi:type="dcterms:W3CDTF">2014-07-11T13:47:19Z</dcterms:modified>
</cp:coreProperties>
</file>